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4"/>
    <p:sldMasterId id="2147483766" r:id="rId5"/>
    <p:sldMasterId id="2147483770" r:id="rId6"/>
    <p:sldMasterId id="2147483787" r:id="rId7"/>
  </p:sldMasterIdLst>
  <p:notesMasterIdLst>
    <p:notesMasterId r:id="rId18"/>
  </p:notesMasterIdLst>
  <p:handoutMasterIdLst>
    <p:handoutMasterId r:id="rId19"/>
  </p:handoutMasterIdLst>
  <p:sldIdLst>
    <p:sldId id="483" r:id="rId8"/>
    <p:sldId id="773" r:id="rId9"/>
    <p:sldId id="289" r:id="rId10"/>
    <p:sldId id="531" r:id="rId11"/>
    <p:sldId id="527" r:id="rId12"/>
    <p:sldId id="5650" r:id="rId13"/>
    <p:sldId id="529" r:id="rId14"/>
    <p:sldId id="410" r:id="rId15"/>
    <p:sldId id="533" r:id="rId16"/>
    <p:sldId id="340" r:id="rId17"/>
  </p:sldIdLst>
  <p:sldSz cx="9144000" cy="6858000" type="screen4x3"/>
  <p:notesSz cx="6858000" cy="9144000"/>
  <p:custShowLst>
    <p:custShow name="Custom Show 1"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a:srgbClr val="860000"/>
    <a:srgbClr val="0B144D"/>
    <a:srgbClr val="0F1C67"/>
    <a:srgbClr val="F2F2F2"/>
    <a:srgbClr val="D8D8D8"/>
    <a:srgbClr val="7C8C98"/>
    <a:srgbClr val="FF2121"/>
    <a:srgbClr val="FFFF00"/>
    <a:srgbClr val="E8E9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008529-1384-4901-8A97-DEF1049ADFF5}" v="2" dt="2024-03-03T09:57:16.0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5" autoAdjust="0"/>
    <p:restoredTop sz="95705" autoAdjust="0"/>
  </p:normalViewPr>
  <p:slideViewPr>
    <p:cSldViewPr snapToGrid="0">
      <p:cViewPr varScale="1">
        <p:scale>
          <a:sx n="64" d="100"/>
          <a:sy n="64" d="100"/>
        </p:scale>
        <p:origin x="1360" y="4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56993546061544"/>
          <c:y val="0.14588449721041497"/>
          <c:w val="0.7236639053440419"/>
          <c:h val="0.56832771300878004"/>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4-C2A9-43C6-939E-6473FD8FE2D1}"/>
              </c:ext>
            </c:extLst>
          </c:dPt>
          <c:dPt>
            <c:idx val="1"/>
            <c:invertIfNegative val="0"/>
            <c:bubble3D val="0"/>
            <c:spPr>
              <a:solidFill>
                <a:srgbClr val="860000"/>
              </a:solidFill>
              <a:ln>
                <a:noFill/>
              </a:ln>
              <a:effectLst/>
            </c:spPr>
            <c:extLst>
              <c:ext xmlns:c16="http://schemas.microsoft.com/office/drawing/2014/chart" uri="{C3380CC4-5D6E-409C-BE32-E72D297353CC}">
                <c16:uniqueId val="{00000003-C2A9-43C6-939E-6473FD8FE2D1}"/>
              </c:ext>
            </c:extLst>
          </c:dPt>
          <c:cat>
            <c:strRef>
              <c:f>Sheet1!$A$2:$A$3</c:f>
              <c:strCache>
                <c:ptCount val="2"/>
                <c:pt idx="0">
                  <c:v>Walter Sisulu University</c:v>
                </c:pt>
                <c:pt idx="1">
                  <c:v>Central University of Technology, Free State</c:v>
                </c:pt>
              </c:strCache>
            </c:strRef>
          </c:cat>
          <c:val>
            <c:numRef>
              <c:f>Sheet1!$B$2:$B$3</c:f>
              <c:numCache>
                <c:formatCode>General</c:formatCode>
                <c:ptCount val="2"/>
                <c:pt idx="0">
                  <c:v>8000</c:v>
                </c:pt>
                <c:pt idx="1">
                  <c:v>5000</c:v>
                </c:pt>
              </c:numCache>
            </c:numRef>
          </c:val>
          <c:extLst>
            <c:ext xmlns:c16="http://schemas.microsoft.com/office/drawing/2014/chart" uri="{C3380CC4-5D6E-409C-BE32-E72D297353CC}">
              <c16:uniqueId val="{00000000-C2A9-43C6-939E-6473FD8FE2D1}"/>
            </c:ext>
          </c:extLst>
        </c:ser>
        <c:dLbls>
          <c:showLegendKey val="0"/>
          <c:showVal val="0"/>
          <c:showCatName val="0"/>
          <c:showSerName val="0"/>
          <c:showPercent val="0"/>
          <c:showBubbleSize val="0"/>
        </c:dLbls>
        <c:gapWidth val="219"/>
        <c:overlap val="-27"/>
        <c:axId val="744662272"/>
        <c:axId val="1786345024"/>
      </c:barChart>
      <c:catAx>
        <c:axId val="74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786345024"/>
        <c:crosses val="autoZero"/>
        <c:auto val="1"/>
        <c:lblAlgn val="ctr"/>
        <c:lblOffset val="100"/>
        <c:noMultiLvlLbl val="0"/>
      </c:catAx>
      <c:valAx>
        <c:axId val="17863450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74466227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1" i="0" u="none" strike="noStrike" kern="1200" baseline="0">
                <a:solidFill>
                  <a:srgbClr val="860000"/>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2"/>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3/5/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3/5/202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a:t>
            </a:fld>
            <a:endParaRPr lang="en-US" dirty="0"/>
          </a:p>
        </p:txBody>
      </p:sp>
    </p:spTree>
    <p:extLst>
      <p:ext uri="{BB962C8B-B14F-4D97-AF65-F5344CB8AC3E}">
        <p14:creationId xmlns:p14="http://schemas.microsoft.com/office/powerpoint/2010/main" val="3960399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721250-A1F0-4E7C-9F1A-96E3E3FAD1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75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
        <p:nvSpPr>
          <p:cNvPr id="5" name="Footer Placeholder 4"/>
          <p:cNvSpPr>
            <a:spLocks noGrp="1"/>
          </p:cNvSpPr>
          <p:nvPr>
            <p:ph type="ftr" sz="quarter" idx="4"/>
          </p:nvPr>
        </p:nvSpPr>
        <p:spPr/>
        <p: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rPr>
              <a:t>Info-Tech Research Group</a:t>
            </a:r>
          </a:p>
        </p:txBody>
      </p:sp>
      <p:sp>
        <p:nvSpPr>
          <p:cNvPr id="6" name="Slide Number Placeholder 5"/>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1FF8485B-9FDB-9147-B48D-B05806D03D92}"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4147258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5BD174-5741-48F1-B4BB-E6C09CA3C2F3}"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6005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Tree>
    <p:extLst>
      <p:ext uri="{BB962C8B-B14F-4D97-AF65-F5344CB8AC3E}">
        <p14:creationId xmlns:p14="http://schemas.microsoft.com/office/powerpoint/2010/main" val="3544028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chemeClr val="accent1"/>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129235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82416060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ngle Timelin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BC6ED5-DBEC-4BA5-9BFE-9A5E0ED8D8CA}"/>
              </a:ext>
            </a:extLst>
          </p:cNvPr>
          <p:cNvSpPr>
            <a:spLocks noGrp="1"/>
          </p:cNvSpPr>
          <p:nvPr>
            <p:ph type="title" hasCustomPrompt="1"/>
          </p:nvPr>
        </p:nvSpPr>
        <p:spPr>
          <a:xfrm>
            <a:off x="172593" y="457200"/>
            <a:ext cx="8798814" cy="1176055"/>
          </a:xfrm>
        </p:spPr>
        <p:txBody>
          <a:bodyPr/>
          <a:lstStyle>
            <a:lvl1pPr>
              <a:defRPr baseline="0"/>
            </a:lvl1pPr>
          </a:lstStyle>
          <a:p>
            <a:r>
              <a:rPr lang="en-US" dirty="0"/>
              <a:t>Click to add title</a:t>
            </a:r>
          </a:p>
        </p:txBody>
      </p:sp>
      <p:grpSp>
        <p:nvGrpSpPr>
          <p:cNvPr id="7" name="Group 6">
            <a:extLst>
              <a:ext uri="{FF2B5EF4-FFF2-40B4-BE49-F238E27FC236}">
                <a16:creationId xmlns:a16="http://schemas.microsoft.com/office/drawing/2014/main" id="{EE4AF8E1-6D3D-7A31-0DD3-7B583B821892}"/>
              </a:ext>
              <a:ext uri="{C183D7F6-B498-43B3-948B-1728B52AA6E4}">
                <adec:decorative xmlns:adec="http://schemas.microsoft.com/office/drawing/2017/decorative" val="1"/>
              </a:ext>
            </a:extLst>
          </p:cNvPr>
          <p:cNvGrpSpPr/>
          <p:nvPr userDrawn="1"/>
        </p:nvGrpSpPr>
        <p:grpSpPr>
          <a:xfrm>
            <a:off x="990090" y="2020391"/>
            <a:ext cx="7033876" cy="2410190"/>
            <a:chOff x="1320120" y="2020391"/>
            <a:chExt cx="9378501" cy="2410190"/>
          </a:xfrm>
        </p:grpSpPr>
        <p:sp>
          <p:nvSpPr>
            <p:cNvPr id="8" name="Freeform: Shape 7" descr="timeline ">
              <a:extLst>
                <a:ext uri="{FF2B5EF4-FFF2-40B4-BE49-F238E27FC236}">
                  <a16:creationId xmlns:a16="http://schemas.microsoft.com/office/drawing/2014/main" id="{95FFD2E4-8235-F2BF-A205-9D552619322C}"/>
                </a:ext>
              </a:extLst>
            </p:cNvPr>
            <p:cNvSpPr/>
            <p:nvPr/>
          </p:nvSpPr>
          <p:spPr>
            <a:xfrm flipH="1" flipV="1">
              <a:off x="1392439" y="2020391"/>
              <a:ext cx="9252295" cy="2410190"/>
            </a:xfrm>
            <a:custGeom>
              <a:avLst/>
              <a:gdLst>
                <a:gd name="connsiteX0" fmla="*/ 1192508 w 9252295"/>
                <a:gd name="connsiteY0" fmla="*/ 2410190 h 2410190"/>
                <a:gd name="connsiteX1" fmla="*/ 0 w 9252295"/>
                <a:gd name="connsiteY1" fmla="*/ 1217682 h 2410190"/>
                <a:gd name="connsiteX2" fmla="*/ 1107 w 9252295"/>
                <a:gd name="connsiteY2" fmla="*/ 1206703 h 2410190"/>
                <a:gd name="connsiteX3" fmla="*/ 96158 w 9252295"/>
                <a:gd name="connsiteY3" fmla="*/ 1206703 h 2410190"/>
                <a:gd name="connsiteX4" fmla="*/ 95051 w 9252295"/>
                <a:gd name="connsiteY4" fmla="*/ 1217682 h 2410190"/>
                <a:gd name="connsiteX5" fmla="*/ 1192508 w 9252295"/>
                <a:gd name="connsiteY5" fmla="*/ 2315139 h 2410190"/>
                <a:gd name="connsiteX6" fmla="*/ 2289965 w 9252295"/>
                <a:gd name="connsiteY6" fmla="*/ 1217682 h 2410190"/>
                <a:gd name="connsiteX7" fmla="*/ 2289554 w 9252295"/>
                <a:gd name="connsiteY7" fmla="*/ 1209531 h 2410190"/>
                <a:gd name="connsiteX8" fmla="*/ 2290085 w 9252295"/>
                <a:gd name="connsiteY8" fmla="*/ 1209531 h 2410190"/>
                <a:gd name="connsiteX9" fmla="*/ 2295831 w 9252295"/>
                <a:gd name="connsiteY9" fmla="*/ 1095755 h 2410190"/>
                <a:gd name="connsiteX10" fmla="*/ 3482182 w 9252295"/>
                <a:gd name="connsiteY10" fmla="*/ 25174 h 2410190"/>
                <a:gd name="connsiteX11" fmla="*/ 4668533 w 9252295"/>
                <a:gd name="connsiteY11" fmla="*/ 1095755 h 2410190"/>
                <a:gd name="connsiteX12" fmla="*/ 4674278 w 9252295"/>
                <a:gd name="connsiteY12" fmla="*/ 1209531 h 2410190"/>
                <a:gd name="connsiteX13" fmla="*/ 4673516 w 9252295"/>
                <a:gd name="connsiteY13" fmla="*/ 1209531 h 2410190"/>
                <a:gd name="connsiteX14" fmla="*/ 4678322 w 9252295"/>
                <a:gd name="connsiteY14" fmla="*/ 1304717 h 2410190"/>
                <a:gd name="connsiteX15" fmla="*/ 5770114 w 9252295"/>
                <a:gd name="connsiteY15" fmla="*/ 2289966 h 2410190"/>
                <a:gd name="connsiteX16" fmla="*/ 6861904 w 9252295"/>
                <a:gd name="connsiteY16" fmla="*/ 1304717 h 2410190"/>
                <a:gd name="connsiteX17" fmla="*/ 6867159 w 9252295"/>
                <a:gd name="connsiteY17" fmla="*/ 1200660 h 2410190"/>
                <a:gd name="connsiteX18" fmla="*/ 6867690 w 9252295"/>
                <a:gd name="connsiteY18" fmla="*/ 1200660 h 2410190"/>
                <a:gd name="connsiteX19" fmla="*/ 6867279 w 9252295"/>
                <a:gd name="connsiteY19" fmla="*/ 1192508 h 2410190"/>
                <a:gd name="connsiteX20" fmla="*/ 8059787 w 9252295"/>
                <a:gd name="connsiteY20" fmla="*/ 0 h 2410190"/>
                <a:gd name="connsiteX21" fmla="*/ 9252295 w 9252295"/>
                <a:gd name="connsiteY21" fmla="*/ 1192508 h 2410190"/>
                <a:gd name="connsiteX22" fmla="*/ 9251964 w 9252295"/>
                <a:gd name="connsiteY22" fmla="*/ 1195794 h 2410190"/>
                <a:gd name="connsiteX23" fmla="*/ 9156913 w 9252295"/>
                <a:gd name="connsiteY23" fmla="*/ 1195794 h 2410190"/>
                <a:gd name="connsiteX24" fmla="*/ 9157244 w 9252295"/>
                <a:gd name="connsiteY24" fmla="*/ 1192508 h 2410190"/>
                <a:gd name="connsiteX25" fmla="*/ 8059787 w 9252295"/>
                <a:gd name="connsiteY25" fmla="*/ 95051 h 2410190"/>
                <a:gd name="connsiteX26" fmla="*/ 6962330 w 9252295"/>
                <a:gd name="connsiteY26" fmla="*/ 1192508 h 2410190"/>
                <a:gd name="connsiteX27" fmla="*/ 6962741 w 9252295"/>
                <a:gd name="connsiteY27" fmla="*/ 1200660 h 2410190"/>
                <a:gd name="connsiteX28" fmla="*/ 6962209 w 9252295"/>
                <a:gd name="connsiteY28" fmla="*/ 1200660 h 2410190"/>
                <a:gd name="connsiteX29" fmla="*/ 6956464 w 9252295"/>
                <a:gd name="connsiteY29" fmla="*/ 1314435 h 2410190"/>
                <a:gd name="connsiteX30" fmla="*/ 5770114 w 9252295"/>
                <a:gd name="connsiteY30" fmla="*/ 2385016 h 2410190"/>
                <a:gd name="connsiteX31" fmla="*/ 4583763 w 9252295"/>
                <a:gd name="connsiteY31" fmla="*/ 1314435 h 2410190"/>
                <a:gd name="connsiteX32" fmla="*/ 4578017 w 9252295"/>
                <a:gd name="connsiteY32" fmla="*/ 1200660 h 2410190"/>
                <a:gd name="connsiteX33" fmla="*/ 4578780 w 9252295"/>
                <a:gd name="connsiteY33" fmla="*/ 1200660 h 2410190"/>
                <a:gd name="connsiteX34" fmla="*/ 4573974 w 9252295"/>
                <a:gd name="connsiteY34" fmla="*/ 1105474 h 2410190"/>
                <a:gd name="connsiteX35" fmla="*/ 3482182 w 9252295"/>
                <a:gd name="connsiteY35" fmla="*/ 120225 h 2410190"/>
                <a:gd name="connsiteX36" fmla="*/ 2390391 w 9252295"/>
                <a:gd name="connsiteY36" fmla="*/ 1105474 h 2410190"/>
                <a:gd name="connsiteX37" fmla="*/ 2385136 w 9252295"/>
                <a:gd name="connsiteY37" fmla="*/ 1209531 h 2410190"/>
                <a:gd name="connsiteX38" fmla="*/ 2384604 w 9252295"/>
                <a:gd name="connsiteY38" fmla="*/ 1209531 h 2410190"/>
                <a:gd name="connsiteX39" fmla="*/ 2385016 w 9252295"/>
                <a:gd name="connsiteY39" fmla="*/ 1217682 h 2410190"/>
                <a:gd name="connsiteX40" fmla="*/ 1192508 w 9252295"/>
                <a:gd name="connsiteY40" fmla="*/ 2410190 h 2410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252295" h="2410190">
                  <a:moveTo>
                    <a:pt x="1192508" y="2410190"/>
                  </a:moveTo>
                  <a:cubicBezTo>
                    <a:pt x="533904" y="2410190"/>
                    <a:pt x="0" y="1876286"/>
                    <a:pt x="0" y="1217682"/>
                  </a:cubicBezTo>
                  <a:lnTo>
                    <a:pt x="1107" y="1206703"/>
                  </a:lnTo>
                  <a:lnTo>
                    <a:pt x="96158" y="1206703"/>
                  </a:lnTo>
                  <a:lnTo>
                    <a:pt x="95051" y="1217682"/>
                  </a:lnTo>
                  <a:cubicBezTo>
                    <a:pt x="95051" y="1823791"/>
                    <a:pt x="586400" y="2315139"/>
                    <a:pt x="1192508" y="2315139"/>
                  </a:cubicBezTo>
                  <a:cubicBezTo>
                    <a:pt x="1798616" y="2315139"/>
                    <a:pt x="2289965" y="1823791"/>
                    <a:pt x="2289965" y="1217682"/>
                  </a:cubicBezTo>
                  <a:lnTo>
                    <a:pt x="2289554" y="1209531"/>
                  </a:lnTo>
                  <a:lnTo>
                    <a:pt x="2290085" y="1209531"/>
                  </a:lnTo>
                  <a:lnTo>
                    <a:pt x="2295831" y="1095755"/>
                  </a:lnTo>
                  <a:cubicBezTo>
                    <a:pt x="2356899" y="494427"/>
                    <a:pt x="2864742" y="25174"/>
                    <a:pt x="3482182" y="25174"/>
                  </a:cubicBezTo>
                  <a:cubicBezTo>
                    <a:pt x="4099623" y="25174"/>
                    <a:pt x="4607465" y="494427"/>
                    <a:pt x="4668533" y="1095755"/>
                  </a:cubicBezTo>
                  <a:lnTo>
                    <a:pt x="4674278" y="1209531"/>
                  </a:lnTo>
                  <a:lnTo>
                    <a:pt x="4673516" y="1209531"/>
                  </a:lnTo>
                  <a:lnTo>
                    <a:pt x="4678322" y="1304717"/>
                  </a:lnTo>
                  <a:cubicBezTo>
                    <a:pt x="4734523" y="1858116"/>
                    <a:pt x="5201886" y="2289966"/>
                    <a:pt x="5770114" y="2289966"/>
                  </a:cubicBezTo>
                  <a:cubicBezTo>
                    <a:pt x="6338340" y="2289966"/>
                    <a:pt x="6805704" y="1858116"/>
                    <a:pt x="6861904" y="1304717"/>
                  </a:cubicBezTo>
                  <a:lnTo>
                    <a:pt x="6867159" y="1200660"/>
                  </a:lnTo>
                  <a:lnTo>
                    <a:pt x="6867690" y="1200660"/>
                  </a:lnTo>
                  <a:lnTo>
                    <a:pt x="6867279" y="1192508"/>
                  </a:lnTo>
                  <a:cubicBezTo>
                    <a:pt x="6867279" y="533905"/>
                    <a:pt x="7401183" y="0"/>
                    <a:pt x="8059787" y="0"/>
                  </a:cubicBezTo>
                  <a:cubicBezTo>
                    <a:pt x="8718390" y="0"/>
                    <a:pt x="9252295" y="533905"/>
                    <a:pt x="9252295" y="1192508"/>
                  </a:cubicBezTo>
                  <a:lnTo>
                    <a:pt x="9251964" y="1195794"/>
                  </a:lnTo>
                  <a:lnTo>
                    <a:pt x="9156913" y="1195794"/>
                  </a:lnTo>
                  <a:lnTo>
                    <a:pt x="9157244" y="1192508"/>
                  </a:lnTo>
                  <a:cubicBezTo>
                    <a:pt x="9157244" y="586400"/>
                    <a:pt x="8665895" y="95051"/>
                    <a:pt x="8059787" y="95051"/>
                  </a:cubicBezTo>
                  <a:cubicBezTo>
                    <a:pt x="7453679" y="95051"/>
                    <a:pt x="6962330" y="586400"/>
                    <a:pt x="6962330" y="1192508"/>
                  </a:cubicBezTo>
                  <a:lnTo>
                    <a:pt x="6962741" y="1200660"/>
                  </a:lnTo>
                  <a:lnTo>
                    <a:pt x="6962209" y="1200660"/>
                  </a:lnTo>
                  <a:lnTo>
                    <a:pt x="6956464" y="1314435"/>
                  </a:lnTo>
                  <a:cubicBezTo>
                    <a:pt x="6895396" y="1915764"/>
                    <a:pt x="6387554" y="2385016"/>
                    <a:pt x="5770114" y="2385016"/>
                  </a:cubicBezTo>
                  <a:cubicBezTo>
                    <a:pt x="5152672" y="2385016"/>
                    <a:pt x="4644831" y="1915764"/>
                    <a:pt x="4583763" y="1314435"/>
                  </a:cubicBezTo>
                  <a:lnTo>
                    <a:pt x="4578017" y="1200660"/>
                  </a:lnTo>
                  <a:lnTo>
                    <a:pt x="4578780" y="1200660"/>
                  </a:lnTo>
                  <a:lnTo>
                    <a:pt x="4573974" y="1105474"/>
                  </a:lnTo>
                  <a:cubicBezTo>
                    <a:pt x="4517772" y="552075"/>
                    <a:pt x="4050409" y="120225"/>
                    <a:pt x="3482182" y="120225"/>
                  </a:cubicBezTo>
                  <a:cubicBezTo>
                    <a:pt x="2913956" y="120225"/>
                    <a:pt x="2446592" y="552075"/>
                    <a:pt x="2390391" y="1105474"/>
                  </a:cubicBezTo>
                  <a:lnTo>
                    <a:pt x="2385136" y="1209531"/>
                  </a:lnTo>
                  <a:lnTo>
                    <a:pt x="2384604" y="1209531"/>
                  </a:lnTo>
                  <a:lnTo>
                    <a:pt x="2385016" y="1217682"/>
                  </a:lnTo>
                  <a:cubicBezTo>
                    <a:pt x="2385016" y="1876286"/>
                    <a:pt x="1851111" y="2410190"/>
                    <a:pt x="1192508" y="2410190"/>
                  </a:cubicBezTo>
                  <a:close/>
                </a:path>
              </a:pathLst>
            </a:custGeom>
            <a:gradFill flip="none" rotWithShape="1">
              <a:gsLst>
                <a:gs pos="61000">
                  <a:schemeClr val="accent6"/>
                </a:gs>
                <a:gs pos="39000">
                  <a:schemeClr val="accent5"/>
                </a:gs>
                <a:gs pos="18000">
                  <a:schemeClr val="accent4"/>
                </a:gs>
                <a:gs pos="92000">
                  <a:schemeClr val="accent3"/>
                </a:gs>
              </a:gsLst>
              <a:lin ang="10800000" scaled="0"/>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000" dirty="0">
                <a:solidFill>
                  <a:schemeClr val="accent2"/>
                </a:solidFill>
              </a:endParaRPr>
            </a:p>
          </p:txBody>
        </p:sp>
        <p:sp>
          <p:nvSpPr>
            <p:cNvPr id="9" name="Oval 8" descr="timeline endpoints">
              <a:extLst>
                <a:ext uri="{FF2B5EF4-FFF2-40B4-BE49-F238E27FC236}">
                  <a16:creationId xmlns:a16="http://schemas.microsoft.com/office/drawing/2014/main" id="{FD500365-FF2B-BD97-E160-2EE37926D791}"/>
                </a:ext>
              </a:extLst>
            </p:cNvPr>
            <p:cNvSpPr/>
            <p:nvPr/>
          </p:nvSpPr>
          <p:spPr>
            <a:xfrm>
              <a:off x="1320120" y="3149771"/>
              <a:ext cx="218092" cy="218092"/>
            </a:xfrm>
            <a:prstGeom prst="ellipse">
              <a:avLst/>
            </a:prstGeom>
            <a:solidFill>
              <a:schemeClr val="accent4"/>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Oval 9" descr="timeline endpoints">
              <a:extLst>
                <a:ext uri="{FF2B5EF4-FFF2-40B4-BE49-F238E27FC236}">
                  <a16:creationId xmlns:a16="http://schemas.microsoft.com/office/drawing/2014/main" id="{34C8CF17-1B0C-28D1-6E4D-5187FFFDCE2D}"/>
                </a:ext>
              </a:extLst>
            </p:cNvPr>
            <p:cNvSpPr/>
            <p:nvPr/>
          </p:nvSpPr>
          <p:spPr>
            <a:xfrm>
              <a:off x="10480529" y="3149771"/>
              <a:ext cx="218092" cy="218092"/>
            </a:xfrm>
            <a:prstGeom prst="ellipse">
              <a:avLst/>
            </a:prstGeom>
            <a:solidFill>
              <a:schemeClr val="accent3"/>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20A472"/>
                </a:solidFill>
              </a:endParaRPr>
            </a:p>
          </p:txBody>
        </p:sp>
      </p:grpSp>
      <p:sp>
        <p:nvSpPr>
          <p:cNvPr id="12" name="Text Placeholder 11">
            <a:extLst>
              <a:ext uri="{FF2B5EF4-FFF2-40B4-BE49-F238E27FC236}">
                <a16:creationId xmlns:a16="http://schemas.microsoft.com/office/drawing/2014/main" id="{488AC32E-428F-9A0A-3195-B3423A2C9397}"/>
              </a:ext>
            </a:extLst>
          </p:cNvPr>
          <p:cNvSpPr>
            <a:spLocks noGrp="1"/>
          </p:cNvSpPr>
          <p:nvPr>
            <p:ph type="body" sz="quarter" idx="18" hasCustomPrompt="1"/>
          </p:nvPr>
        </p:nvSpPr>
        <p:spPr>
          <a:xfrm>
            <a:off x="1485266" y="2660943"/>
            <a:ext cx="870966" cy="1161288"/>
          </a:xfrm>
          <a:prstGeom prst="ellipse">
            <a:avLst/>
          </a:prstGeom>
          <a:ln w="38100">
            <a:solidFill>
              <a:schemeClr val="accent4"/>
            </a:solidFill>
          </a:ln>
        </p:spPr>
        <p:txBody>
          <a:bodyPr anchor="ctr">
            <a:noAutofit/>
          </a:bodyPr>
          <a:lstStyle>
            <a:lvl1pPr marL="0" indent="0" algn="ctr">
              <a:buNone/>
              <a:defRPr sz="2400" cap="all" baseline="0">
                <a:solidFill>
                  <a:schemeClr val="accent4"/>
                </a:solidFill>
              </a:defRPr>
            </a:lvl1pPr>
            <a:lvl2pPr marL="342900" indent="0" algn="ctr">
              <a:buNone/>
              <a:defRPr sz="1200"/>
            </a:lvl2pPr>
            <a:lvl3pPr marL="685800" indent="0" algn="ctr">
              <a:buNone/>
              <a:defRPr sz="1050"/>
            </a:lvl3pPr>
            <a:lvl4pPr marL="1028700" indent="0" algn="ctr">
              <a:buNone/>
              <a:defRPr sz="900"/>
            </a:lvl4pPr>
            <a:lvl5pPr marL="1371600" indent="0" algn="ctr">
              <a:buNone/>
              <a:defRPr sz="900"/>
            </a:lvl5pPr>
          </a:lstStyle>
          <a:p>
            <a:pPr lvl="0"/>
            <a:r>
              <a:rPr lang="en-US" dirty="0"/>
              <a:t>Q1</a:t>
            </a:r>
          </a:p>
        </p:txBody>
      </p:sp>
      <p:sp>
        <p:nvSpPr>
          <p:cNvPr id="18" name="Text Placeholder 48">
            <a:extLst>
              <a:ext uri="{FF2B5EF4-FFF2-40B4-BE49-F238E27FC236}">
                <a16:creationId xmlns:a16="http://schemas.microsoft.com/office/drawing/2014/main" id="{D127D48E-3E09-48C7-AB33-FBD643EFA52E}"/>
              </a:ext>
            </a:extLst>
          </p:cNvPr>
          <p:cNvSpPr>
            <a:spLocks noGrp="1"/>
          </p:cNvSpPr>
          <p:nvPr>
            <p:ph type="body" sz="quarter" idx="10" hasCustomPrompt="1"/>
          </p:nvPr>
        </p:nvSpPr>
        <p:spPr>
          <a:xfrm>
            <a:off x="1367936" y="4817717"/>
            <a:ext cx="1347297" cy="302186"/>
          </a:xfrm>
        </p:spPr>
        <p:txBody>
          <a:bodyPr>
            <a:noAutofit/>
          </a:bodyPr>
          <a:lstStyle>
            <a:lvl1pPr marL="0" indent="0">
              <a:buNone/>
              <a:defRPr sz="1500" b="1" cap="all" baseline="0">
                <a:solidFill>
                  <a:schemeClr val="accent4"/>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19" name="Text Placeholder 50">
            <a:extLst>
              <a:ext uri="{FF2B5EF4-FFF2-40B4-BE49-F238E27FC236}">
                <a16:creationId xmlns:a16="http://schemas.microsoft.com/office/drawing/2014/main" id="{A1B91BF4-B790-4F67-98EB-FE905527BFF8}"/>
              </a:ext>
            </a:extLst>
          </p:cNvPr>
          <p:cNvSpPr>
            <a:spLocks noGrp="1"/>
          </p:cNvSpPr>
          <p:nvPr>
            <p:ph type="body" sz="quarter" idx="11" hasCustomPrompt="1"/>
          </p:nvPr>
        </p:nvSpPr>
        <p:spPr>
          <a:xfrm>
            <a:off x="1367936" y="5210963"/>
            <a:ext cx="1360175" cy="706438"/>
          </a:xfrm>
        </p:spPr>
        <p:txBody>
          <a:bodyPr>
            <a:noAutofit/>
          </a:bodyPr>
          <a:lstStyle>
            <a:lvl1pPr marL="0" indent="0">
              <a:lnSpc>
                <a:spcPct val="100000"/>
              </a:lnSpc>
              <a:buNone/>
              <a:defRPr sz="900">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13" name="Text Placeholder 11">
            <a:extLst>
              <a:ext uri="{FF2B5EF4-FFF2-40B4-BE49-F238E27FC236}">
                <a16:creationId xmlns:a16="http://schemas.microsoft.com/office/drawing/2014/main" id="{38A1666A-610A-35B4-038A-027C26F293CD}"/>
              </a:ext>
            </a:extLst>
          </p:cNvPr>
          <p:cNvSpPr>
            <a:spLocks noGrp="1"/>
          </p:cNvSpPr>
          <p:nvPr>
            <p:ph type="body" sz="quarter" idx="19" hasCustomPrompt="1"/>
          </p:nvPr>
        </p:nvSpPr>
        <p:spPr>
          <a:xfrm>
            <a:off x="3209629" y="2660943"/>
            <a:ext cx="870966" cy="1161288"/>
          </a:xfrm>
          <a:prstGeom prst="ellipse">
            <a:avLst/>
          </a:prstGeom>
          <a:ln w="38100">
            <a:solidFill>
              <a:schemeClr val="accent5"/>
            </a:solidFill>
          </a:ln>
        </p:spPr>
        <p:txBody>
          <a:bodyPr anchor="ctr">
            <a:noAutofit/>
          </a:bodyPr>
          <a:lstStyle>
            <a:lvl1pPr marL="0" indent="0" algn="ctr">
              <a:buNone/>
              <a:defRPr sz="2400" cap="all" baseline="0">
                <a:solidFill>
                  <a:schemeClr val="accent5"/>
                </a:solidFill>
              </a:defRPr>
            </a:lvl1pPr>
            <a:lvl2pPr marL="342900" indent="0" algn="ctr">
              <a:buNone/>
              <a:defRPr sz="1200"/>
            </a:lvl2pPr>
            <a:lvl3pPr marL="685800" indent="0" algn="ctr">
              <a:buNone/>
              <a:defRPr sz="1050"/>
            </a:lvl3pPr>
            <a:lvl4pPr marL="1028700" indent="0" algn="ctr">
              <a:buNone/>
              <a:defRPr sz="900"/>
            </a:lvl4pPr>
            <a:lvl5pPr marL="1371600" indent="0" algn="ctr">
              <a:buNone/>
              <a:defRPr sz="900"/>
            </a:lvl5pPr>
          </a:lstStyle>
          <a:p>
            <a:pPr lvl="0"/>
            <a:r>
              <a:rPr lang="en-US" dirty="0"/>
              <a:t>Q2</a:t>
            </a:r>
          </a:p>
        </p:txBody>
      </p:sp>
      <p:sp>
        <p:nvSpPr>
          <p:cNvPr id="20" name="Text Placeholder 48">
            <a:extLst>
              <a:ext uri="{FF2B5EF4-FFF2-40B4-BE49-F238E27FC236}">
                <a16:creationId xmlns:a16="http://schemas.microsoft.com/office/drawing/2014/main" id="{CCA5F33F-1634-427F-92BF-99A5ED52A4BA}"/>
              </a:ext>
            </a:extLst>
          </p:cNvPr>
          <p:cNvSpPr>
            <a:spLocks noGrp="1"/>
          </p:cNvSpPr>
          <p:nvPr>
            <p:ph type="body" sz="quarter" idx="12" hasCustomPrompt="1"/>
          </p:nvPr>
        </p:nvSpPr>
        <p:spPr>
          <a:xfrm>
            <a:off x="3100557" y="4817717"/>
            <a:ext cx="1347297" cy="302186"/>
          </a:xfrm>
        </p:spPr>
        <p:txBody>
          <a:bodyPr>
            <a:noAutofit/>
          </a:bodyPr>
          <a:lstStyle>
            <a:lvl1pPr marL="0" indent="0">
              <a:buNone/>
              <a:defRPr sz="1500" b="1" cap="all" baseline="0">
                <a:solidFill>
                  <a:schemeClr val="accent5"/>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21" name="Text Placeholder 50">
            <a:extLst>
              <a:ext uri="{FF2B5EF4-FFF2-40B4-BE49-F238E27FC236}">
                <a16:creationId xmlns:a16="http://schemas.microsoft.com/office/drawing/2014/main" id="{084F28D2-C99C-44DC-95CF-A18847F3B61F}"/>
              </a:ext>
            </a:extLst>
          </p:cNvPr>
          <p:cNvSpPr>
            <a:spLocks noGrp="1"/>
          </p:cNvSpPr>
          <p:nvPr>
            <p:ph type="body" sz="quarter" idx="13" hasCustomPrompt="1"/>
          </p:nvPr>
        </p:nvSpPr>
        <p:spPr>
          <a:xfrm>
            <a:off x="3100558" y="5210963"/>
            <a:ext cx="1360175" cy="706438"/>
          </a:xfrm>
        </p:spPr>
        <p:txBody>
          <a:bodyPr>
            <a:noAutofit/>
          </a:bodyPr>
          <a:lstStyle>
            <a:lvl1pPr marL="0" indent="0">
              <a:lnSpc>
                <a:spcPct val="100000"/>
              </a:lnSpc>
              <a:buNone/>
              <a:defRPr sz="900">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14" name="Text Placeholder 11">
            <a:extLst>
              <a:ext uri="{FF2B5EF4-FFF2-40B4-BE49-F238E27FC236}">
                <a16:creationId xmlns:a16="http://schemas.microsoft.com/office/drawing/2014/main" id="{3FDDA6AC-3BDE-259D-EBBE-6A7B12A217C7}"/>
              </a:ext>
            </a:extLst>
          </p:cNvPr>
          <p:cNvSpPr>
            <a:spLocks noGrp="1"/>
          </p:cNvSpPr>
          <p:nvPr>
            <p:ph type="body" sz="quarter" idx="20" hasCustomPrompt="1"/>
          </p:nvPr>
        </p:nvSpPr>
        <p:spPr>
          <a:xfrm>
            <a:off x="4933991" y="2660943"/>
            <a:ext cx="870966" cy="1161288"/>
          </a:xfrm>
          <a:prstGeom prst="ellipse">
            <a:avLst/>
          </a:prstGeom>
          <a:ln w="38100">
            <a:solidFill>
              <a:schemeClr val="accent6"/>
            </a:solidFill>
          </a:ln>
        </p:spPr>
        <p:txBody>
          <a:bodyPr anchor="ctr">
            <a:noAutofit/>
          </a:bodyPr>
          <a:lstStyle>
            <a:lvl1pPr marL="0" indent="0" algn="ctr">
              <a:buNone/>
              <a:defRPr sz="2400" cap="all" baseline="0">
                <a:solidFill>
                  <a:schemeClr val="accent6"/>
                </a:solidFill>
              </a:defRPr>
            </a:lvl1pPr>
            <a:lvl2pPr marL="342900" indent="0" algn="ctr">
              <a:buNone/>
              <a:defRPr sz="1200"/>
            </a:lvl2pPr>
            <a:lvl3pPr marL="685800" indent="0" algn="ctr">
              <a:buNone/>
              <a:defRPr sz="1050"/>
            </a:lvl3pPr>
            <a:lvl4pPr marL="1028700" indent="0" algn="ctr">
              <a:buNone/>
              <a:defRPr sz="900"/>
            </a:lvl4pPr>
            <a:lvl5pPr marL="1371600" indent="0" algn="ctr">
              <a:buNone/>
              <a:defRPr sz="900"/>
            </a:lvl5pPr>
          </a:lstStyle>
          <a:p>
            <a:pPr lvl="0"/>
            <a:r>
              <a:rPr lang="en-US" dirty="0"/>
              <a:t>Q3</a:t>
            </a:r>
          </a:p>
        </p:txBody>
      </p:sp>
      <p:sp>
        <p:nvSpPr>
          <p:cNvPr id="22" name="Text Placeholder 48">
            <a:extLst>
              <a:ext uri="{FF2B5EF4-FFF2-40B4-BE49-F238E27FC236}">
                <a16:creationId xmlns:a16="http://schemas.microsoft.com/office/drawing/2014/main" id="{2402522A-E098-4FB5-B454-D6FC98D90CFE}"/>
              </a:ext>
            </a:extLst>
          </p:cNvPr>
          <p:cNvSpPr>
            <a:spLocks noGrp="1"/>
          </p:cNvSpPr>
          <p:nvPr>
            <p:ph type="body" sz="quarter" idx="14" hasCustomPrompt="1"/>
          </p:nvPr>
        </p:nvSpPr>
        <p:spPr>
          <a:xfrm>
            <a:off x="4833179" y="4817717"/>
            <a:ext cx="1347297" cy="302186"/>
          </a:xfrm>
        </p:spPr>
        <p:txBody>
          <a:bodyPr>
            <a:noAutofit/>
          </a:bodyPr>
          <a:lstStyle>
            <a:lvl1pPr marL="0" indent="0">
              <a:buNone/>
              <a:defRPr sz="1500" b="1" cap="all" baseline="0">
                <a:solidFill>
                  <a:schemeClr val="accent6"/>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23" name="Text Placeholder 50">
            <a:extLst>
              <a:ext uri="{FF2B5EF4-FFF2-40B4-BE49-F238E27FC236}">
                <a16:creationId xmlns:a16="http://schemas.microsoft.com/office/drawing/2014/main" id="{18CF51EA-CDE2-4AA1-83CB-9DC6E212C336}"/>
              </a:ext>
            </a:extLst>
          </p:cNvPr>
          <p:cNvSpPr>
            <a:spLocks noGrp="1"/>
          </p:cNvSpPr>
          <p:nvPr>
            <p:ph type="body" sz="quarter" idx="15" hasCustomPrompt="1"/>
          </p:nvPr>
        </p:nvSpPr>
        <p:spPr>
          <a:xfrm>
            <a:off x="4833179" y="5210963"/>
            <a:ext cx="1360175" cy="706438"/>
          </a:xfrm>
        </p:spPr>
        <p:txBody>
          <a:bodyPr>
            <a:noAutofit/>
          </a:bodyPr>
          <a:lstStyle>
            <a:lvl1pPr marL="0" indent="0">
              <a:lnSpc>
                <a:spcPct val="100000"/>
              </a:lnSpc>
              <a:buNone/>
              <a:defRPr sz="900">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15" name="Text Placeholder 11">
            <a:extLst>
              <a:ext uri="{FF2B5EF4-FFF2-40B4-BE49-F238E27FC236}">
                <a16:creationId xmlns:a16="http://schemas.microsoft.com/office/drawing/2014/main" id="{4DFBC172-3AC7-02D5-403B-5AB8BAB34940}"/>
              </a:ext>
            </a:extLst>
          </p:cNvPr>
          <p:cNvSpPr>
            <a:spLocks noGrp="1"/>
          </p:cNvSpPr>
          <p:nvPr>
            <p:ph type="body" sz="quarter" idx="21" hasCustomPrompt="1"/>
          </p:nvPr>
        </p:nvSpPr>
        <p:spPr>
          <a:xfrm>
            <a:off x="6658354" y="2644842"/>
            <a:ext cx="870966" cy="1161288"/>
          </a:xfrm>
          <a:prstGeom prst="ellipse">
            <a:avLst/>
          </a:prstGeom>
          <a:ln w="38100">
            <a:solidFill>
              <a:schemeClr val="accent3"/>
            </a:solidFill>
          </a:ln>
        </p:spPr>
        <p:txBody>
          <a:bodyPr anchor="ctr">
            <a:noAutofit/>
          </a:bodyPr>
          <a:lstStyle>
            <a:lvl1pPr marL="0" indent="0" algn="ctr">
              <a:buNone/>
              <a:defRPr sz="2400" cap="all" baseline="0">
                <a:solidFill>
                  <a:schemeClr val="accent3"/>
                </a:solidFill>
              </a:defRPr>
            </a:lvl1pPr>
            <a:lvl2pPr marL="342900" indent="0" algn="ctr">
              <a:buNone/>
              <a:defRPr sz="1200"/>
            </a:lvl2pPr>
            <a:lvl3pPr marL="685800" indent="0" algn="ctr">
              <a:buNone/>
              <a:defRPr sz="1050"/>
            </a:lvl3pPr>
            <a:lvl4pPr marL="1028700" indent="0" algn="ctr">
              <a:buNone/>
              <a:defRPr sz="900"/>
            </a:lvl4pPr>
            <a:lvl5pPr marL="1371600" indent="0" algn="ctr">
              <a:buNone/>
              <a:defRPr sz="900"/>
            </a:lvl5pPr>
          </a:lstStyle>
          <a:p>
            <a:pPr lvl="0"/>
            <a:r>
              <a:rPr lang="en-US" dirty="0"/>
              <a:t>Q4</a:t>
            </a:r>
          </a:p>
        </p:txBody>
      </p:sp>
      <p:sp>
        <p:nvSpPr>
          <p:cNvPr id="24" name="Text Placeholder 48">
            <a:extLst>
              <a:ext uri="{FF2B5EF4-FFF2-40B4-BE49-F238E27FC236}">
                <a16:creationId xmlns:a16="http://schemas.microsoft.com/office/drawing/2014/main" id="{FE2BFCE7-D8D1-42B7-97F2-78B1D2CB5F8F}"/>
              </a:ext>
            </a:extLst>
          </p:cNvPr>
          <p:cNvSpPr>
            <a:spLocks noGrp="1"/>
          </p:cNvSpPr>
          <p:nvPr>
            <p:ph type="body" sz="quarter" idx="16" hasCustomPrompt="1"/>
          </p:nvPr>
        </p:nvSpPr>
        <p:spPr>
          <a:xfrm>
            <a:off x="6565800" y="4817717"/>
            <a:ext cx="1347297" cy="302186"/>
          </a:xfrm>
        </p:spPr>
        <p:txBody>
          <a:bodyPr>
            <a:noAutofit/>
          </a:bodyPr>
          <a:lstStyle>
            <a:lvl1pPr marL="0" indent="0">
              <a:buNone/>
              <a:defRPr sz="1500" b="1" cap="all" baseline="0">
                <a:solidFill>
                  <a:schemeClr val="accent3"/>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25" name="Text Placeholder 50">
            <a:extLst>
              <a:ext uri="{FF2B5EF4-FFF2-40B4-BE49-F238E27FC236}">
                <a16:creationId xmlns:a16="http://schemas.microsoft.com/office/drawing/2014/main" id="{0C4E8DE7-5691-4470-BC2C-F9F6532248C2}"/>
              </a:ext>
            </a:extLst>
          </p:cNvPr>
          <p:cNvSpPr>
            <a:spLocks noGrp="1"/>
          </p:cNvSpPr>
          <p:nvPr>
            <p:ph type="body" sz="quarter" idx="17" hasCustomPrompt="1"/>
          </p:nvPr>
        </p:nvSpPr>
        <p:spPr>
          <a:xfrm>
            <a:off x="6565801" y="5210963"/>
            <a:ext cx="1360175" cy="706438"/>
          </a:xfrm>
        </p:spPr>
        <p:txBody>
          <a:bodyPr>
            <a:noAutofit/>
          </a:bodyPr>
          <a:lstStyle>
            <a:lvl1pPr marL="0" indent="0">
              <a:lnSpc>
                <a:spcPct val="100000"/>
              </a:lnSpc>
              <a:buNone/>
              <a:defRPr sz="900">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Tree>
    <p:extLst>
      <p:ext uri="{BB962C8B-B14F-4D97-AF65-F5344CB8AC3E}">
        <p14:creationId xmlns:p14="http://schemas.microsoft.com/office/powerpoint/2010/main" val="3311842068"/>
      </p:ext>
    </p:extLst>
  </p:cSld>
  <p:clrMapOvr>
    <a:masterClrMapping/>
  </p:clrMapOvr>
  <p:extLst>
    <p:ext uri="{DCECCB84-F9BA-43D5-87BE-67443E8EF086}">
      <p15:sldGuideLst xmlns:p15="http://schemas.microsoft.com/office/powerpoint/2012/main">
        <p15:guide id="1" pos="1920">
          <p15:clr>
            <a:srgbClr val="FBAE40"/>
          </p15:clr>
        </p15:guide>
        <p15:guide id="2" pos="3840">
          <p15:clr>
            <a:srgbClr val="FBAE40"/>
          </p15:clr>
        </p15:guide>
        <p15:guide id="3" pos="5760">
          <p15:clr>
            <a:srgbClr val="FBAE40"/>
          </p15:clr>
        </p15:guide>
        <p15:guide id="4" pos="3984">
          <p15:clr>
            <a:srgbClr val="5ACBF0"/>
          </p15:clr>
        </p15:guide>
        <p15:guide id="5" pos="3696">
          <p15:clr>
            <a:srgbClr val="5ACBF0"/>
          </p15:clr>
        </p15:guide>
        <p15:guide id="6" pos="2064">
          <p15:clr>
            <a:srgbClr val="5ACBF0"/>
          </p15:clr>
        </p15:guide>
        <p15:guide id="7" pos="1776">
          <p15:clr>
            <a:srgbClr val="5ACBF0"/>
          </p15:clr>
        </p15:guide>
        <p15:guide id="8" pos="5616">
          <p15:clr>
            <a:srgbClr val="5ACBF0"/>
          </p15:clr>
        </p15:guide>
        <p15:guide id="9" pos="5904">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ouble 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67390-01C5-4A4E-AF7F-79E8DB2B2D36}"/>
              </a:ext>
            </a:extLst>
          </p:cNvPr>
          <p:cNvSpPr>
            <a:spLocks noGrp="1"/>
          </p:cNvSpPr>
          <p:nvPr>
            <p:ph type="title" hasCustomPrompt="1"/>
          </p:nvPr>
        </p:nvSpPr>
        <p:spPr>
          <a:xfrm>
            <a:off x="172593" y="457200"/>
            <a:ext cx="8798814" cy="1265567"/>
          </a:xfrm>
        </p:spPr>
        <p:txBody>
          <a:bodyPr/>
          <a:lstStyle>
            <a:lvl1pPr>
              <a:defRPr cap="all" baseline="0"/>
            </a:lvl1pPr>
          </a:lstStyle>
          <a:p>
            <a:r>
              <a:rPr lang="en-US" dirty="0"/>
              <a:t>Click to add title</a:t>
            </a:r>
          </a:p>
        </p:txBody>
      </p:sp>
      <p:sp>
        <p:nvSpPr>
          <p:cNvPr id="18" name="Text Placeholder 17">
            <a:extLst>
              <a:ext uri="{FF2B5EF4-FFF2-40B4-BE49-F238E27FC236}">
                <a16:creationId xmlns:a16="http://schemas.microsoft.com/office/drawing/2014/main" id="{2069D12C-3F64-5612-65C0-30B874676351}"/>
              </a:ext>
            </a:extLst>
          </p:cNvPr>
          <p:cNvSpPr>
            <a:spLocks noGrp="1"/>
          </p:cNvSpPr>
          <p:nvPr>
            <p:ph type="body" sz="quarter" idx="46" hasCustomPrompt="1"/>
          </p:nvPr>
        </p:nvSpPr>
        <p:spPr>
          <a:xfrm>
            <a:off x="457409" y="2585092"/>
            <a:ext cx="658368" cy="877824"/>
          </a:xfrm>
          <a:prstGeom prst="ellipse">
            <a:avLst/>
          </a:prstGeom>
          <a:ln w="38100">
            <a:solidFill>
              <a:schemeClr val="accent4"/>
            </a:solidFill>
          </a:ln>
        </p:spPr>
        <p:txBody>
          <a:bodyPr anchor="ctr">
            <a:normAutofit/>
          </a:bodyPr>
          <a:lstStyle>
            <a:lvl1pPr marL="0" indent="0" algn="ctr">
              <a:buNone/>
              <a:defRPr sz="1800" cap="all" baseline="0">
                <a:solidFill>
                  <a:schemeClr val="accent4"/>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1</a:t>
            </a:r>
          </a:p>
        </p:txBody>
      </p:sp>
      <p:sp>
        <p:nvSpPr>
          <p:cNvPr id="34" name="Text Placeholder 48">
            <a:extLst>
              <a:ext uri="{FF2B5EF4-FFF2-40B4-BE49-F238E27FC236}">
                <a16:creationId xmlns:a16="http://schemas.microsoft.com/office/drawing/2014/main" id="{C6E48CAB-F1C0-4E71-9686-C02A967E923F}"/>
              </a:ext>
            </a:extLst>
          </p:cNvPr>
          <p:cNvSpPr>
            <a:spLocks noGrp="1"/>
          </p:cNvSpPr>
          <p:nvPr>
            <p:ph type="body" sz="quarter" idx="10" hasCustomPrompt="1"/>
          </p:nvPr>
        </p:nvSpPr>
        <p:spPr>
          <a:xfrm>
            <a:off x="342136" y="4014522"/>
            <a:ext cx="931735" cy="302186"/>
          </a:xfrm>
        </p:spPr>
        <p:txBody>
          <a:bodyPr lIns="0" rIns="0">
            <a:noAutofit/>
          </a:bodyPr>
          <a:lstStyle>
            <a:lvl1pPr marL="0" indent="0">
              <a:buNone/>
              <a:defRPr sz="1200" b="1" cap="all" baseline="0">
                <a:solidFill>
                  <a:schemeClr val="accent4"/>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35" name="Text Placeholder 50">
            <a:extLst>
              <a:ext uri="{FF2B5EF4-FFF2-40B4-BE49-F238E27FC236}">
                <a16:creationId xmlns:a16="http://schemas.microsoft.com/office/drawing/2014/main" id="{7C226081-D459-4A68-9B23-0C804E6A639C}"/>
              </a:ext>
            </a:extLst>
          </p:cNvPr>
          <p:cNvSpPr>
            <a:spLocks noGrp="1"/>
          </p:cNvSpPr>
          <p:nvPr>
            <p:ph type="body" sz="quarter" idx="11" hasCustomPrompt="1"/>
          </p:nvPr>
        </p:nvSpPr>
        <p:spPr>
          <a:xfrm>
            <a:off x="342136"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19" name="Text Placeholder 17">
            <a:extLst>
              <a:ext uri="{FF2B5EF4-FFF2-40B4-BE49-F238E27FC236}">
                <a16:creationId xmlns:a16="http://schemas.microsoft.com/office/drawing/2014/main" id="{6576D8A9-A8D2-9DDC-0F30-8189EA083D20}"/>
              </a:ext>
            </a:extLst>
          </p:cNvPr>
          <p:cNvSpPr>
            <a:spLocks noGrp="1"/>
          </p:cNvSpPr>
          <p:nvPr>
            <p:ph type="body" sz="quarter" idx="47" hasCustomPrompt="1"/>
          </p:nvPr>
        </p:nvSpPr>
        <p:spPr>
          <a:xfrm>
            <a:off x="1464863" y="2585092"/>
            <a:ext cx="658368" cy="877824"/>
          </a:xfrm>
          <a:prstGeom prst="ellipse">
            <a:avLst/>
          </a:prstGeom>
          <a:ln w="38100">
            <a:solidFill>
              <a:schemeClr val="accent5"/>
            </a:solidFill>
          </a:ln>
        </p:spPr>
        <p:txBody>
          <a:bodyPr anchor="ctr">
            <a:normAutofit/>
          </a:bodyPr>
          <a:lstStyle>
            <a:lvl1pPr marL="0" indent="0" algn="ctr">
              <a:buNone/>
              <a:defRPr sz="1800" cap="all" baseline="0">
                <a:solidFill>
                  <a:schemeClr val="accent5"/>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2</a:t>
            </a:r>
          </a:p>
        </p:txBody>
      </p:sp>
      <p:sp>
        <p:nvSpPr>
          <p:cNvPr id="50" name="Text Placeholder 48">
            <a:extLst>
              <a:ext uri="{FF2B5EF4-FFF2-40B4-BE49-F238E27FC236}">
                <a16:creationId xmlns:a16="http://schemas.microsoft.com/office/drawing/2014/main" id="{C32AE455-05F0-44FA-98C4-73D9C60DF896}"/>
              </a:ext>
            </a:extLst>
          </p:cNvPr>
          <p:cNvSpPr>
            <a:spLocks noGrp="1"/>
          </p:cNvSpPr>
          <p:nvPr>
            <p:ph type="body" sz="quarter" idx="32" hasCustomPrompt="1"/>
          </p:nvPr>
        </p:nvSpPr>
        <p:spPr>
          <a:xfrm>
            <a:off x="1379327" y="4014522"/>
            <a:ext cx="952842" cy="302186"/>
          </a:xfrm>
        </p:spPr>
        <p:txBody>
          <a:bodyPr lIns="0" rIns="0">
            <a:noAutofit/>
          </a:bodyPr>
          <a:lstStyle>
            <a:lvl1pPr marL="0" indent="0">
              <a:buNone/>
              <a:defRPr sz="1200" b="1" cap="all" baseline="0">
                <a:solidFill>
                  <a:schemeClr val="accent5"/>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1" name="Text Placeholder 50">
            <a:extLst>
              <a:ext uri="{FF2B5EF4-FFF2-40B4-BE49-F238E27FC236}">
                <a16:creationId xmlns:a16="http://schemas.microsoft.com/office/drawing/2014/main" id="{3C3FB663-073E-458E-A31A-B15112A0D377}"/>
              </a:ext>
            </a:extLst>
          </p:cNvPr>
          <p:cNvSpPr>
            <a:spLocks noGrp="1"/>
          </p:cNvSpPr>
          <p:nvPr>
            <p:ph type="body" sz="quarter" idx="33" hasCustomPrompt="1"/>
          </p:nvPr>
        </p:nvSpPr>
        <p:spPr>
          <a:xfrm>
            <a:off x="1379327"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20" name="Text Placeholder 17">
            <a:extLst>
              <a:ext uri="{FF2B5EF4-FFF2-40B4-BE49-F238E27FC236}">
                <a16:creationId xmlns:a16="http://schemas.microsoft.com/office/drawing/2014/main" id="{6E6D2BAA-4D65-0445-B45C-617A021365A8}"/>
              </a:ext>
            </a:extLst>
          </p:cNvPr>
          <p:cNvSpPr>
            <a:spLocks noGrp="1"/>
          </p:cNvSpPr>
          <p:nvPr>
            <p:ph type="body" sz="quarter" idx="48" hasCustomPrompt="1"/>
          </p:nvPr>
        </p:nvSpPr>
        <p:spPr>
          <a:xfrm>
            <a:off x="2453693" y="2585092"/>
            <a:ext cx="658368" cy="877824"/>
          </a:xfrm>
          <a:prstGeom prst="ellipse">
            <a:avLst/>
          </a:prstGeom>
          <a:ln w="38100">
            <a:solidFill>
              <a:schemeClr val="accent6"/>
            </a:solidFill>
          </a:ln>
        </p:spPr>
        <p:txBody>
          <a:bodyPr anchor="ctr">
            <a:normAutofit/>
          </a:bodyPr>
          <a:lstStyle>
            <a:lvl1pPr marL="0" indent="0" algn="ctr">
              <a:buNone/>
              <a:defRPr sz="1800" cap="all" baseline="0">
                <a:solidFill>
                  <a:schemeClr val="accent6"/>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3</a:t>
            </a:r>
          </a:p>
        </p:txBody>
      </p:sp>
      <p:sp>
        <p:nvSpPr>
          <p:cNvPr id="52" name="Text Placeholder 48">
            <a:extLst>
              <a:ext uri="{FF2B5EF4-FFF2-40B4-BE49-F238E27FC236}">
                <a16:creationId xmlns:a16="http://schemas.microsoft.com/office/drawing/2014/main" id="{91332113-C9A3-4B1F-A973-C30104497DCE}"/>
              </a:ext>
            </a:extLst>
          </p:cNvPr>
          <p:cNvSpPr>
            <a:spLocks noGrp="1"/>
          </p:cNvSpPr>
          <p:nvPr>
            <p:ph type="body" sz="quarter" idx="34" hasCustomPrompt="1"/>
          </p:nvPr>
        </p:nvSpPr>
        <p:spPr>
          <a:xfrm>
            <a:off x="2416518" y="4014522"/>
            <a:ext cx="930932" cy="302186"/>
          </a:xfrm>
        </p:spPr>
        <p:txBody>
          <a:bodyPr lIns="0" rIns="0">
            <a:noAutofit/>
          </a:bodyPr>
          <a:lstStyle>
            <a:lvl1pPr marL="0" indent="0">
              <a:buNone/>
              <a:defRPr sz="1200" b="1" cap="all" baseline="0">
                <a:solidFill>
                  <a:schemeClr val="accent6"/>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3" name="Text Placeholder 50">
            <a:extLst>
              <a:ext uri="{FF2B5EF4-FFF2-40B4-BE49-F238E27FC236}">
                <a16:creationId xmlns:a16="http://schemas.microsoft.com/office/drawing/2014/main" id="{CDAC2DE8-0B23-47D4-A121-018184C5D2BD}"/>
              </a:ext>
            </a:extLst>
          </p:cNvPr>
          <p:cNvSpPr>
            <a:spLocks noGrp="1"/>
          </p:cNvSpPr>
          <p:nvPr>
            <p:ph type="body" sz="quarter" idx="35" hasCustomPrompt="1"/>
          </p:nvPr>
        </p:nvSpPr>
        <p:spPr>
          <a:xfrm>
            <a:off x="2416518"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21" name="Text Placeholder 17">
            <a:extLst>
              <a:ext uri="{FF2B5EF4-FFF2-40B4-BE49-F238E27FC236}">
                <a16:creationId xmlns:a16="http://schemas.microsoft.com/office/drawing/2014/main" id="{499C3FA7-D6A4-3F9C-021F-BBFE172B3AB1}"/>
              </a:ext>
            </a:extLst>
          </p:cNvPr>
          <p:cNvSpPr>
            <a:spLocks noGrp="1"/>
          </p:cNvSpPr>
          <p:nvPr>
            <p:ph type="body" sz="quarter" idx="49" hasCustomPrompt="1"/>
          </p:nvPr>
        </p:nvSpPr>
        <p:spPr>
          <a:xfrm>
            <a:off x="3468291" y="2585092"/>
            <a:ext cx="658368" cy="877824"/>
          </a:xfrm>
          <a:prstGeom prst="ellipse">
            <a:avLst/>
          </a:prstGeom>
          <a:ln w="38100">
            <a:solidFill>
              <a:schemeClr val="accent3"/>
            </a:solidFill>
          </a:ln>
        </p:spPr>
        <p:txBody>
          <a:bodyPr anchor="ctr">
            <a:normAutofit/>
          </a:bodyPr>
          <a:lstStyle>
            <a:lvl1pPr marL="0" indent="0" algn="ctr">
              <a:buNone/>
              <a:defRPr sz="1800" cap="all" baseline="0">
                <a:solidFill>
                  <a:schemeClr val="accent3"/>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4</a:t>
            </a:r>
          </a:p>
        </p:txBody>
      </p:sp>
      <p:sp>
        <p:nvSpPr>
          <p:cNvPr id="54" name="Text Placeholder 48">
            <a:extLst>
              <a:ext uri="{FF2B5EF4-FFF2-40B4-BE49-F238E27FC236}">
                <a16:creationId xmlns:a16="http://schemas.microsoft.com/office/drawing/2014/main" id="{AE8613EE-32F0-4251-809B-6B9907E226CF}"/>
              </a:ext>
            </a:extLst>
          </p:cNvPr>
          <p:cNvSpPr>
            <a:spLocks noGrp="1"/>
          </p:cNvSpPr>
          <p:nvPr>
            <p:ph type="body" sz="quarter" idx="36" hasCustomPrompt="1"/>
          </p:nvPr>
        </p:nvSpPr>
        <p:spPr>
          <a:xfrm>
            <a:off x="3453708" y="4014522"/>
            <a:ext cx="930932" cy="302186"/>
          </a:xfrm>
        </p:spPr>
        <p:txBody>
          <a:bodyPr lIns="0" rIns="0">
            <a:noAutofit/>
          </a:bodyPr>
          <a:lstStyle>
            <a:lvl1pPr marL="0" indent="0">
              <a:buNone/>
              <a:defRPr sz="1200" b="1" cap="all" baseline="0">
                <a:solidFill>
                  <a:schemeClr val="accent3"/>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5" name="Text Placeholder 50">
            <a:extLst>
              <a:ext uri="{FF2B5EF4-FFF2-40B4-BE49-F238E27FC236}">
                <a16:creationId xmlns:a16="http://schemas.microsoft.com/office/drawing/2014/main" id="{6E9683DA-61F6-48A0-9453-C03FB9794010}"/>
              </a:ext>
            </a:extLst>
          </p:cNvPr>
          <p:cNvSpPr>
            <a:spLocks noGrp="1"/>
          </p:cNvSpPr>
          <p:nvPr>
            <p:ph type="body" sz="quarter" idx="37" hasCustomPrompt="1"/>
          </p:nvPr>
        </p:nvSpPr>
        <p:spPr>
          <a:xfrm>
            <a:off x="3453708"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22" name="Text Placeholder 17">
            <a:extLst>
              <a:ext uri="{FF2B5EF4-FFF2-40B4-BE49-F238E27FC236}">
                <a16:creationId xmlns:a16="http://schemas.microsoft.com/office/drawing/2014/main" id="{64EC693F-BE91-85FE-44F0-EFE8F6DAC59D}"/>
              </a:ext>
            </a:extLst>
          </p:cNvPr>
          <p:cNvSpPr>
            <a:spLocks noGrp="1"/>
          </p:cNvSpPr>
          <p:nvPr>
            <p:ph type="body" sz="quarter" idx="50" hasCustomPrompt="1"/>
          </p:nvPr>
        </p:nvSpPr>
        <p:spPr>
          <a:xfrm>
            <a:off x="5028135" y="2585092"/>
            <a:ext cx="658368" cy="877824"/>
          </a:xfrm>
          <a:prstGeom prst="ellipse">
            <a:avLst/>
          </a:prstGeom>
          <a:ln w="38100">
            <a:solidFill>
              <a:schemeClr val="accent4"/>
            </a:solidFill>
          </a:ln>
        </p:spPr>
        <p:txBody>
          <a:bodyPr anchor="ctr">
            <a:normAutofit/>
          </a:bodyPr>
          <a:lstStyle>
            <a:lvl1pPr marL="0" indent="0" algn="ctr">
              <a:buNone/>
              <a:defRPr sz="1800" cap="all" baseline="0">
                <a:solidFill>
                  <a:schemeClr val="accent4"/>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1</a:t>
            </a:r>
          </a:p>
        </p:txBody>
      </p:sp>
      <p:sp>
        <p:nvSpPr>
          <p:cNvPr id="56" name="Text Placeholder 48">
            <a:extLst>
              <a:ext uri="{FF2B5EF4-FFF2-40B4-BE49-F238E27FC236}">
                <a16:creationId xmlns:a16="http://schemas.microsoft.com/office/drawing/2014/main" id="{53C09CD9-E6F6-4AA3-968A-491D1568E739}"/>
              </a:ext>
            </a:extLst>
          </p:cNvPr>
          <p:cNvSpPr>
            <a:spLocks noGrp="1"/>
          </p:cNvSpPr>
          <p:nvPr>
            <p:ph type="body" sz="quarter" idx="38" hasCustomPrompt="1"/>
          </p:nvPr>
        </p:nvSpPr>
        <p:spPr>
          <a:xfrm>
            <a:off x="4916422" y="4014522"/>
            <a:ext cx="930932" cy="302186"/>
          </a:xfrm>
        </p:spPr>
        <p:txBody>
          <a:bodyPr lIns="0" rIns="0">
            <a:noAutofit/>
          </a:bodyPr>
          <a:lstStyle>
            <a:lvl1pPr marL="0" indent="0">
              <a:buNone/>
              <a:defRPr sz="1200" b="1" cap="all" baseline="0">
                <a:solidFill>
                  <a:schemeClr val="accent4"/>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7" name="Text Placeholder 50">
            <a:extLst>
              <a:ext uri="{FF2B5EF4-FFF2-40B4-BE49-F238E27FC236}">
                <a16:creationId xmlns:a16="http://schemas.microsoft.com/office/drawing/2014/main" id="{4457D5F2-D7AE-44A9-847A-D20086BCCC22}"/>
              </a:ext>
            </a:extLst>
          </p:cNvPr>
          <p:cNvSpPr>
            <a:spLocks noGrp="1"/>
          </p:cNvSpPr>
          <p:nvPr>
            <p:ph type="body" sz="quarter" idx="39" hasCustomPrompt="1"/>
          </p:nvPr>
        </p:nvSpPr>
        <p:spPr>
          <a:xfrm>
            <a:off x="4916422"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23" name="Text Placeholder 17">
            <a:extLst>
              <a:ext uri="{FF2B5EF4-FFF2-40B4-BE49-F238E27FC236}">
                <a16:creationId xmlns:a16="http://schemas.microsoft.com/office/drawing/2014/main" id="{FC3D5189-674F-A21F-1398-5FCFC7F642C2}"/>
              </a:ext>
            </a:extLst>
          </p:cNvPr>
          <p:cNvSpPr>
            <a:spLocks noGrp="1"/>
          </p:cNvSpPr>
          <p:nvPr>
            <p:ph type="body" sz="quarter" idx="51" hasCustomPrompt="1"/>
          </p:nvPr>
        </p:nvSpPr>
        <p:spPr>
          <a:xfrm>
            <a:off x="6035589" y="2585092"/>
            <a:ext cx="658368" cy="877824"/>
          </a:xfrm>
          <a:prstGeom prst="ellipse">
            <a:avLst/>
          </a:prstGeom>
          <a:ln w="38100">
            <a:solidFill>
              <a:schemeClr val="accent5"/>
            </a:solidFill>
          </a:ln>
        </p:spPr>
        <p:txBody>
          <a:bodyPr anchor="ctr">
            <a:normAutofit/>
          </a:bodyPr>
          <a:lstStyle>
            <a:lvl1pPr marL="0" indent="0" algn="ctr">
              <a:buNone/>
              <a:defRPr sz="1800" cap="all" baseline="0">
                <a:solidFill>
                  <a:schemeClr val="accent5"/>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2</a:t>
            </a:r>
          </a:p>
        </p:txBody>
      </p:sp>
      <p:sp>
        <p:nvSpPr>
          <p:cNvPr id="58" name="Text Placeholder 48">
            <a:extLst>
              <a:ext uri="{FF2B5EF4-FFF2-40B4-BE49-F238E27FC236}">
                <a16:creationId xmlns:a16="http://schemas.microsoft.com/office/drawing/2014/main" id="{4FBE8211-41BE-41C2-B826-94FD55BC0AA4}"/>
              </a:ext>
            </a:extLst>
          </p:cNvPr>
          <p:cNvSpPr>
            <a:spLocks noGrp="1"/>
          </p:cNvSpPr>
          <p:nvPr>
            <p:ph type="body" sz="quarter" idx="40" hasCustomPrompt="1"/>
          </p:nvPr>
        </p:nvSpPr>
        <p:spPr>
          <a:xfrm>
            <a:off x="5953613" y="4014522"/>
            <a:ext cx="930931" cy="302186"/>
          </a:xfrm>
        </p:spPr>
        <p:txBody>
          <a:bodyPr lIns="0" rIns="0">
            <a:noAutofit/>
          </a:bodyPr>
          <a:lstStyle>
            <a:lvl1pPr marL="0" indent="0">
              <a:buNone/>
              <a:defRPr sz="1200" b="1" cap="all" baseline="0">
                <a:solidFill>
                  <a:schemeClr val="accent5"/>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9" name="Text Placeholder 50">
            <a:extLst>
              <a:ext uri="{FF2B5EF4-FFF2-40B4-BE49-F238E27FC236}">
                <a16:creationId xmlns:a16="http://schemas.microsoft.com/office/drawing/2014/main" id="{18C75666-F3E0-4AD7-8C05-FEFFEAE1D10C}"/>
              </a:ext>
            </a:extLst>
          </p:cNvPr>
          <p:cNvSpPr>
            <a:spLocks noGrp="1"/>
          </p:cNvSpPr>
          <p:nvPr>
            <p:ph type="body" sz="quarter" idx="41" hasCustomPrompt="1"/>
          </p:nvPr>
        </p:nvSpPr>
        <p:spPr>
          <a:xfrm>
            <a:off x="5953613"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24" name="Text Placeholder 17">
            <a:extLst>
              <a:ext uri="{FF2B5EF4-FFF2-40B4-BE49-F238E27FC236}">
                <a16:creationId xmlns:a16="http://schemas.microsoft.com/office/drawing/2014/main" id="{529910F4-ABB9-EC08-F4A5-4EA1F188DA10}"/>
              </a:ext>
            </a:extLst>
          </p:cNvPr>
          <p:cNvSpPr>
            <a:spLocks noGrp="1"/>
          </p:cNvSpPr>
          <p:nvPr>
            <p:ph type="body" sz="quarter" idx="52" hasCustomPrompt="1"/>
          </p:nvPr>
        </p:nvSpPr>
        <p:spPr>
          <a:xfrm>
            <a:off x="7024420" y="2585092"/>
            <a:ext cx="658368" cy="877824"/>
          </a:xfrm>
          <a:prstGeom prst="ellipse">
            <a:avLst/>
          </a:prstGeom>
          <a:ln w="38100">
            <a:solidFill>
              <a:schemeClr val="accent6"/>
            </a:solidFill>
          </a:ln>
        </p:spPr>
        <p:txBody>
          <a:bodyPr anchor="ctr">
            <a:normAutofit/>
          </a:bodyPr>
          <a:lstStyle>
            <a:lvl1pPr marL="0" indent="0" algn="ctr">
              <a:buNone/>
              <a:defRPr sz="1800" cap="all" baseline="0">
                <a:solidFill>
                  <a:schemeClr val="accent6"/>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3</a:t>
            </a:r>
          </a:p>
        </p:txBody>
      </p:sp>
      <p:sp>
        <p:nvSpPr>
          <p:cNvPr id="60" name="Text Placeholder 48">
            <a:extLst>
              <a:ext uri="{FF2B5EF4-FFF2-40B4-BE49-F238E27FC236}">
                <a16:creationId xmlns:a16="http://schemas.microsoft.com/office/drawing/2014/main" id="{66478F13-D9B8-4439-9B08-804CD6848EB9}"/>
              </a:ext>
            </a:extLst>
          </p:cNvPr>
          <p:cNvSpPr>
            <a:spLocks noGrp="1"/>
          </p:cNvSpPr>
          <p:nvPr>
            <p:ph type="body" sz="quarter" idx="42" hasCustomPrompt="1"/>
          </p:nvPr>
        </p:nvSpPr>
        <p:spPr>
          <a:xfrm>
            <a:off x="6990804" y="4014522"/>
            <a:ext cx="930931" cy="302186"/>
          </a:xfrm>
        </p:spPr>
        <p:txBody>
          <a:bodyPr lIns="0" rIns="0">
            <a:noAutofit/>
          </a:bodyPr>
          <a:lstStyle>
            <a:lvl1pPr marL="0" indent="0">
              <a:buNone/>
              <a:defRPr sz="1200" b="1" cap="all" baseline="0">
                <a:solidFill>
                  <a:schemeClr val="accent6"/>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61" name="Text Placeholder 50">
            <a:extLst>
              <a:ext uri="{FF2B5EF4-FFF2-40B4-BE49-F238E27FC236}">
                <a16:creationId xmlns:a16="http://schemas.microsoft.com/office/drawing/2014/main" id="{08844405-957A-4970-A2B6-D161FED665FF}"/>
              </a:ext>
            </a:extLst>
          </p:cNvPr>
          <p:cNvSpPr>
            <a:spLocks noGrp="1"/>
          </p:cNvSpPr>
          <p:nvPr>
            <p:ph type="body" sz="quarter" idx="43" hasCustomPrompt="1"/>
          </p:nvPr>
        </p:nvSpPr>
        <p:spPr>
          <a:xfrm>
            <a:off x="6990804"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25" name="Text Placeholder 17">
            <a:extLst>
              <a:ext uri="{FF2B5EF4-FFF2-40B4-BE49-F238E27FC236}">
                <a16:creationId xmlns:a16="http://schemas.microsoft.com/office/drawing/2014/main" id="{DF1F1105-2FFE-7BE6-46FF-3A7630DE25CA}"/>
              </a:ext>
            </a:extLst>
          </p:cNvPr>
          <p:cNvSpPr>
            <a:spLocks noGrp="1"/>
          </p:cNvSpPr>
          <p:nvPr>
            <p:ph type="body" sz="quarter" idx="53" hasCustomPrompt="1"/>
          </p:nvPr>
        </p:nvSpPr>
        <p:spPr>
          <a:xfrm>
            <a:off x="8039018" y="2585092"/>
            <a:ext cx="658368" cy="877824"/>
          </a:xfrm>
          <a:prstGeom prst="ellipse">
            <a:avLst/>
          </a:prstGeom>
          <a:ln w="38100">
            <a:solidFill>
              <a:schemeClr val="accent3"/>
            </a:solidFill>
          </a:ln>
        </p:spPr>
        <p:txBody>
          <a:bodyPr anchor="ctr">
            <a:normAutofit/>
          </a:bodyPr>
          <a:lstStyle>
            <a:lvl1pPr marL="0" indent="0" algn="ctr">
              <a:buNone/>
              <a:defRPr sz="1800" cap="all" baseline="0">
                <a:solidFill>
                  <a:schemeClr val="accent3"/>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4</a:t>
            </a:r>
          </a:p>
        </p:txBody>
      </p:sp>
      <p:sp>
        <p:nvSpPr>
          <p:cNvPr id="62" name="Text Placeholder 48">
            <a:extLst>
              <a:ext uri="{FF2B5EF4-FFF2-40B4-BE49-F238E27FC236}">
                <a16:creationId xmlns:a16="http://schemas.microsoft.com/office/drawing/2014/main" id="{6F067D31-AE61-48F0-A497-1908DC77F086}"/>
              </a:ext>
            </a:extLst>
          </p:cNvPr>
          <p:cNvSpPr>
            <a:spLocks noGrp="1"/>
          </p:cNvSpPr>
          <p:nvPr>
            <p:ph type="body" sz="quarter" idx="44" hasCustomPrompt="1"/>
          </p:nvPr>
        </p:nvSpPr>
        <p:spPr>
          <a:xfrm>
            <a:off x="8027994" y="4014522"/>
            <a:ext cx="930931" cy="302186"/>
          </a:xfrm>
        </p:spPr>
        <p:txBody>
          <a:bodyPr lIns="0" rIns="0">
            <a:noAutofit/>
          </a:bodyPr>
          <a:lstStyle>
            <a:lvl1pPr marL="0" indent="0">
              <a:buNone/>
              <a:defRPr sz="1200" b="1" cap="all" baseline="0">
                <a:solidFill>
                  <a:schemeClr val="accent3"/>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63" name="Text Placeholder 50">
            <a:extLst>
              <a:ext uri="{FF2B5EF4-FFF2-40B4-BE49-F238E27FC236}">
                <a16:creationId xmlns:a16="http://schemas.microsoft.com/office/drawing/2014/main" id="{5B4A526A-A40E-4B7D-94EC-5FDCAD2EAD89}"/>
              </a:ext>
            </a:extLst>
          </p:cNvPr>
          <p:cNvSpPr>
            <a:spLocks noGrp="1"/>
          </p:cNvSpPr>
          <p:nvPr>
            <p:ph type="body" sz="quarter" idx="45" hasCustomPrompt="1"/>
          </p:nvPr>
        </p:nvSpPr>
        <p:spPr>
          <a:xfrm>
            <a:off x="8027994" y="4486179"/>
            <a:ext cx="931735" cy="1183101"/>
          </a:xfrm>
        </p:spPr>
        <p:txBody>
          <a:bodyPr lIns="0" rIns="0">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grpSp>
        <p:nvGrpSpPr>
          <p:cNvPr id="26" name="Group 25">
            <a:extLst>
              <a:ext uri="{FF2B5EF4-FFF2-40B4-BE49-F238E27FC236}">
                <a16:creationId xmlns:a16="http://schemas.microsoft.com/office/drawing/2014/main" id="{13D517CA-018E-3538-2285-537DE6EF4CB6}"/>
              </a:ext>
              <a:ext uri="{C183D7F6-B498-43B3-948B-1728B52AA6E4}">
                <adec:decorative xmlns:adec="http://schemas.microsoft.com/office/drawing/2017/decorative" val="1"/>
              </a:ext>
            </a:extLst>
          </p:cNvPr>
          <p:cNvGrpSpPr/>
          <p:nvPr userDrawn="1"/>
        </p:nvGrpSpPr>
        <p:grpSpPr>
          <a:xfrm>
            <a:off x="194776" y="2331274"/>
            <a:ext cx="4190667" cy="1392649"/>
            <a:chOff x="259701" y="2331273"/>
            <a:chExt cx="5587556" cy="1392649"/>
          </a:xfrm>
        </p:grpSpPr>
        <p:sp>
          <p:nvSpPr>
            <p:cNvPr id="3" name="Freeform: Shape 2" descr="timeline ">
              <a:extLst>
                <a:ext uri="{FF2B5EF4-FFF2-40B4-BE49-F238E27FC236}">
                  <a16:creationId xmlns:a16="http://schemas.microsoft.com/office/drawing/2014/main" id="{AC2061C7-0EF4-4BE2-C9C9-6500F8654BB4}"/>
                </a:ext>
              </a:extLst>
            </p:cNvPr>
            <p:cNvSpPr/>
            <p:nvPr userDrawn="1"/>
          </p:nvSpPr>
          <p:spPr>
            <a:xfrm rot="10800000" flipV="1">
              <a:off x="340122" y="2331273"/>
              <a:ext cx="5431542" cy="1392649"/>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66000">
                  <a:schemeClr val="accent6"/>
                </a:gs>
                <a:gs pos="42000">
                  <a:schemeClr val="accent5"/>
                </a:gs>
                <a:gs pos="8000">
                  <a:schemeClr val="accent4"/>
                </a:gs>
                <a:gs pos="9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000" dirty="0">
                <a:solidFill>
                  <a:schemeClr val="bg1"/>
                </a:solidFill>
              </a:endParaRPr>
            </a:p>
          </p:txBody>
        </p:sp>
        <p:sp>
          <p:nvSpPr>
            <p:cNvPr id="8" name="Oval 7" descr="timeline endpoints">
              <a:extLst>
                <a:ext uri="{FF2B5EF4-FFF2-40B4-BE49-F238E27FC236}">
                  <a16:creationId xmlns:a16="http://schemas.microsoft.com/office/drawing/2014/main" id="{816FAAB1-A220-A22D-D72D-5780A2066406}"/>
                </a:ext>
              </a:extLst>
            </p:cNvPr>
            <p:cNvSpPr/>
            <p:nvPr userDrawn="1"/>
          </p:nvSpPr>
          <p:spPr>
            <a:xfrm>
              <a:off x="259701" y="2929878"/>
              <a:ext cx="190273" cy="190273"/>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Oval 8" descr="timeline endpoints">
              <a:extLst>
                <a:ext uri="{FF2B5EF4-FFF2-40B4-BE49-F238E27FC236}">
                  <a16:creationId xmlns:a16="http://schemas.microsoft.com/office/drawing/2014/main" id="{8C990738-7209-3620-599F-A86F9BAE8273}"/>
                </a:ext>
              </a:extLst>
            </p:cNvPr>
            <p:cNvSpPr/>
            <p:nvPr userDrawn="1"/>
          </p:nvSpPr>
          <p:spPr>
            <a:xfrm>
              <a:off x="5666452" y="2934612"/>
              <a:ext cx="180805" cy="18080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27" name="Group 26">
            <a:extLst>
              <a:ext uri="{FF2B5EF4-FFF2-40B4-BE49-F238E27FC236}">
                <a16:creationId xmlns:a16="http://schemas.microsoft.com/office/drawing/2014/main" id="{DBA45EEE-7A3F-07EF-B732-92E920EAA004}"/>
              </a:ext>
              <a:ext uri="{C183D7F6-B498-43B3-948B-1728B52AA6E4}">
                <adec:decorative xmlns:adec="http://schemas.microsoft.com/office/drawing/2017/decorative" val="1"/>
              </a:ext>
            </a:extLst>
          </p:cNvPr>
          <p:cNvGrpSpPr/>
          <p:nvPr userDrawn="1"/>
        </p:nvGrpSpPr>
        <p:grpSpPr>
          <a:xfrm>
            <a:off x="4765462" y="2331274"/>
            <a:ext cx="4190667" cy="1392649"/>
            <a:chOff x="6353949" y="2331273"/>
            <a:chExt cx="5587556" cy="1392649"/>
          </a:xfrm>
        </p:grpSpPr>
        <p:sp>
          <p:nvSpPr>
            <p:cNvPr id="10" name="Freeform: Shape 9" descr="timeline ">
              <a:extLst>
                <a:ext uri="{FF2B5EF4-FFF2-40B4-BE49-F238E27FC236}">
                  <a16:creationId xmlns:a16="http://schemas.microsoft.com/office/drawing/2014/main" id="{D5C5C7B3-6DA0-3C02-38EE-ABFEE464A2BB}"/>
                </a:ext>
              </a:extLst>
            </p:cNvPr>
            <p:cNvSpPr/>
            <p:nvPr userDrawn="1"/>
          </p:nvSpPr>
          <p:spPr>
            <a:xfrm rot="10800000" flipV="1">
              <a:off x="6434370" y="2331273"/>
              <a:ext cx="5431542" cy="1392649"/>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66000">
                  <a:schemeClr val="accent6"/>
                </a:gs>
                <a:gs pos="42000">
                  <a:schemeClr val="accent5"/>
                </a:gs>
                <a:gs pos="8000">
                  <a:schemeClr val="accent4"/>
                </a:gs>
                <a:gs pos="9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000" dirty="0">
                <a:solidFill>
                  <a:schemeClr val="bg1"/>
                </a:solidFill>
              </a:endParaRPr>
            </a:p>
          </p:txBody>
        </p:sp>
        <p:sp>
          <p:nvSpPr>
            <p:cNvPr id="15" name="Oval 14" descr="timeline endpoints">
              <a:extLst>
                <a:ext uri="{FF2B5EF4-FFF2-40B4-BE49-F238E27FC236}">
                  <a16:creationId xmlns:a16="http://schemas.microsoft.com/office/drawing/2014/main" id="{03982E1B-FD3A-AC57-25DA-C20832A4C22F}"/>
                </a:ext>
              </a:extLst>
            </p:cNvPr>
            <p:cNvSpPr/>
            <p:nvPr userDrawn="1"/>
          </p:nvSpPr>
          <p:spPr>
            <a:xfrm>
              <a:off x="6353949" y="2929878"/>
              <a:ext cx="190273" cy="190273"/>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Oval 15" descr="timeline endpoints">
              <a:extLst>
                <a:ext uri="{FF2B5EF4-FFF2-40B4-BE49-F238E27FC236}">
                  <a16:creationId xmlns:a16="http://schemas.microsoft.com/office/drawing/2014/main" id="{2CC14EE6-6330-4A96-A431-F23795BFEB4B}"/>
                </a:ext>
              </a:extLst>
            </p:cNvPr>
            <p:cNvSpPr/>
            <p:nvPr userDrawn="1"/>
          </p:nvSpPr>
          <p:spPr>
            <a:xfrm>
              <a:off x="11760700" y="2934612"/>
              <a:ext cx="180805" cy="180805"/>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spTree>
    <p:extLst>
      <p:ext uri="{BB962C8B-B14F-4D97-AF65-F5344CB8AC3E}">
        <p14:creationId xmlns:p14="http://schemas.microsoft.com/office/powerpoint/2010/main" val="692950846"/>
      </p:ext>
    </p:extLst>
  </p:cSld>
  <p:clrMapOvr>
    <a:masterClrMapping/>
  </p:clrMapOvr>
  <p:extLst>
    <p:ext uri="{DCECCB84-F9BA-43D5-87BE-67443E8EF086}">
      <p15:sldGuideLst xmlns:p15="http://schemas.microsoft.com/office/powerpoint/2012/main">
        <p15:guide id="1" pos="1920">
          <p15:clr>
            <a:srgbClr val="FBAE40"/>
          </p15:clr>
        </p15:guide>
        <p15:guide id="2" pos="3840">
          <p15:clr>
            <a:srgbClr val="FBAE40"/>
          </p15:clr>
        </p15:guide>
        <p15:guide id="3" pos="5760">
          <p15:clr>
            <a:srgbClr val="FBAE40"/>
          </p15:clr>
        </p15:guide>
        <p15:guide id="4" pos="3984">
          <p15:clr>
            <a:srgbClr val="5ACBF0"/>
          </p15:clr>
        </p15:guide>
        <p15:guide id="5" pos="3696">
          <p15:clr>
            <a:srgbClr val="5ACBF0"/>
          </p15:clr>
        </p15:guide>
        <p15:guide id="6" pos="2064">
          <p15:clr>
            <a:srgbClr val="5ACBF0"/>
          </p15:clr>
        </p15:guide>
        <p15:guide id="7" pos="1776">
          <p15:clr>
            <a:srgbClr val="5ACBF0"/>
          </p15:clr>
        </p15:guide>
        <p15:guide id="8" pos="5616">
          <p15:clr>
            <a:srgbClr val="5ACBF0"/>
          </p15:clr>
        </p15:guide>
        <p15:guide id="9" pos="5904">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iple 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11859-7CC8-480B-BA0E-18BB16B30479}"/>
              </a:ext>
            </a:extLst>
          </p:cNvPr>
          <p:cNvSpPr>
            <a:spLocks noGrp="1"/>
          </p:cNvSpPr>
          <p:nvPr>
            <p:ph type="title" hasCustomPrompt="1"/>
          </p:nvPr>
        </p:nvSpPr>
        <p:spPr>
          <a:xfrm>
            <a:off x="172593" y="457200"/>
            <a:ext cx="8798814" cy="963580"/>
          </a:xfrm>
        </p:spPr>
        <p:txBody>
          <a:bodyPr/>
          <a:lstStyle>
            <a:lvl1pPr>
              <a:defRPr cap="all" baseline="0"/>
            </a:lvl1pPr>
          </a:lstStyle>
          <a:p>
            <a:r>
              <a:rPr lang="en-US" dirty="0"/>
              <a:t>Click to add title</a:t>
            </a:r>
          </a:p>
        </p:txBody>
      </p:sp>
      <p:grpSp>
        <p:nvGrpSpPr>
          <p:cNvPr id="36" name="Group 35">
            <a:extLst>
              <a:ext uri="{FF2B5EF4-FFF2-40B4-BE49-F238E27FC236}">
                <a16:creationId xmlns:a16="http://schemas.microsoft.com/office/drawing/2014/main" id="{90124243-35B7-C068-DE23-492108FABDB9}"/>
              </a:ext>
              <a:ext uri="{C183D7F6-B498-43B3-948B-1728B52AA6E4}">
                <adec:decorative xmlns:adec="http://schemas.microsoft.com/office/drawing/2017/decorative" val="1"/>
              </a:ext>
            </a:extLst>
          </p:cNvPr>
          <p:cNvGrpSpPr/>
          <p:nvPr userDrawn="1"/>
        </p:nvGrpSpPr>
        <p:grpSpPr>
          <a:xfrm>
            <a:off x="180531" y="1496310"/>
            <a:ext cx="877892" cy="4672600"/>
            <a:chOff x="240708" y="1496310"/>
            <a:chExt cx="1170522" cy="4672600"/>
          </a:xfrm>
        </p:grpSpPr>
        <p:sp>
          <p:nvSpPr>
            <p:cNvPr id="7" name="Freeform: Shape 6" descr="timeline ">
              <a:extLst>
                <a:ext uri="{FF2B5EF4-FFF2-40B4-BE49-F238E27FC236}">
                  <a16:creationId xmlns:a16="http://schemas.microsoft.com/office/drawing/2014/main" id="{85E97D83-32EE-1082-8AC3-2D488569095E}"/>
                </a:ext>
              </a:extLst>
            </p:cNvPr>
            <p:cNvSpPr/>
            <p:nvPr userDrawn="1"/>
          </p:nvSpPr>
          <p:spPr>
            <a:xfrm rot="16200000" flipV="1">
              <a:off x="-1456639"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000" dirty="0">
                <a:solidFill>
                  <a:schemeClr val="bg1"/>
                </a:solidFill>
              </a:endParaRPr>
            </a:p>
          </p:txBody>
        </p:sp>
        <p:sp>
          <p:nvSpPr>
            <p:cNvPr id="8" name="Oval 7" descr="timeline endpoints">
              <a:extLst>
                <a:ext uri="{FF2B5EF4-FFF2-40B4-BE49-F238E27FC236}">
                  <a16:creationId xmlns:a16="http://schemas.microsoft.com/office/drawing/2014/main" id="{A68E7F3D-56B3-6400-38C6-48EA0FC2B65C}"/>
                </a:ext>
              </a:extLst>
            </p:cNvPr>
            <p:cNvSpPr/>
            <p:nvPr userDrawn="1"/>
          </p:nvSpPr>
          <p:spPr>
            <a:xfrm>
              <a:off x="74526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Oval 8" descr="timeline endpoints">
              <a:extLst>
                <a:ext uri="{FF2B5EF4-FFF2-40B4-BE49-F238E27FC236}">
                  <a16:creationId xmlns:a16="http://schemas.microsoft.com/office/drawing/2014/main" id="{A3B99CA7-DB66-357F-E082-9C19B50755E6}"/>
                </a:ext>
              </a:extLst>
            </p:cNvPr>
            <p:cNvSpPr/>
            <p:nvPr userDrawn="1"/>
          </p:nvSpPr>
          <p:spPr>
            <a:xfrm>
              <a:off x="74526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2">
                    <a:lumMod val="75000"/>
                  </a:schemeClr>
                </a:solidFill>
              </a:endParaRPr>
            </a:p>
          </p:txBody>
        </p:sp>
      </p:grpSp>
      <p:grpSp>
        <p:nvGrpSpPr>
          <p:cNvPr id="37" name="Group 36">
            <a:extLst>
              <a:ext uri="{FF2B5EF4-FFF2-40B4-BE49-F238E27FC236}">
                <a16:creationId xmlns:a16="http://schemas.microsoft.com/office/drawing/2014/main" id="{437EB441-7AC5-42B7-2BBE-D2AB4CEB7E08}"/>
              </a:ext>
              <a:ext uri="{C183D7F6-B498-43B3-948B-1728B52AA6E4}">
                <adec:decorative xmlns:adec="http://schemas.microsoft.com/office/drawing/2017/decorative" val="1"/>
              </a:ext>
            </a:extLst>
          </p:cNvPr>
          <p:cNvGrpSpPr/>
          <p:nvPr userDrawn="1"/>
        </p:nvGrpSpPr>
        <p:grpSpPr>
          <a:xfrm>
            <a:off x="3251391" y="1496310"/>
            <a:ext cx="877892" cy="4672600"/>
            <a:chOff x="4335188" y="1496310"/>
            <a:chExt cx="1170522" cy="4672600"/>
          </a:xfrm>
        </p:grpSpPr>
        <p:sp>
          <p:nvSpPr>
            <p:cNvPr id="14" name="Freeform: Shape 13" descr="timeline ">
              <a:extLst>
                <a:ext uri="{FF2B5EF4-FFF2-40B4-BE49-F238E27FC236}">
                  <a16:creationId xmlns:a16="http://schemas.microsoft.com/office/drawing/2014/main" id="{3D5A0C1A-E309-F54E-56B1-C83E716B076E}"/>
                </a:ext>
              </a:extLst>
            </p:cNvPr>
            <p:cNvSpPr/>
            <p:nvPr userDrawn="1"/>
          </p:nvSpPr>
          <p:spPr>
            <a:xfrm rot="16200000" flipV="1">
              <a:off x="2637841"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000" dirty="0">
                <a:solidFill>
                  <a:schemeClr val="bg1"/>
                </a:solidFill>
              </a:endParaRPr>
            </a:p>
          </p:txBody>
        </p:sp>
        <p:sp>
          <p:nvSpPr>
            <p:cNvPr id="15" name="Oval 14" descr="timeline endpoints">
              <a:extLst>
                <a:ext uri="{FF2B5EF4-FFF2-40B4-BE49-F238E27FC236}">
                  <a16:creationId xmlns:a16="http://schemas.microsoft.com/office/drawing/2014/main" id="{C320BD29-7F24-E436-41ED-2FB6B09FFA7D}"/>
                </a:ext>
              </a:extLst>
            </p:cNvPr>
            <p:cNvSpPr/>
            <p:nvPr userDrawn="1"/>
          </p:nvSpPr>
          <p:spPr>
            <a:xfrm>
              <a:off x="483974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Oval 15" descr="timeline endpoints">
              <a:extLst>
                <a:ext uri="{FF2B5EF4-FFF2-40B4-BE49-F238E27FC236}">
                  <a16:creationId xmlns:a16="http://schemas.microsoft.com/office/drawing/2014/main" id="{25CD3A00-642F-F865-8DF5-9FCA90EBD24F}"/>
                </a:ext>
              </a:extLst>
            </p:cNvPr>
            <p:cNvSpPr/>
            <p:nvPr userDrawn="1"/>
          </p:nvSpPr>
          <p:spPr>
            <a:xfrm>
              <a:off x="483974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2">
                    <a:lumMod val="75000"/>
                  </a:schemeClr>
                </a:solidFill>
              </a:endParaRPr>
            </a:p>
          </p:txBody>
        </p:sp>
      </p:grpSp>
      <p:grpSp>
        <p:nvGrpSpPr>
          <p:cNvPr id="38" name="Group 37">
            <a:extLst>
              <a:ext uri="{FF2B5EF4-FFF2-40B4-BE49-F238E27FC236}">
                <a16:creationId xmlns:a16="http://schemas.microsoft.com/office/drawing/2014/main" id="{4EC1A445-4A1E-0E9A-C43A-7286C5F4400C}"/>
              </a:ext>
              <a:ext uri="{C183D7F6-B498-43B3-948B-1728B52AA6E4}">
                <adec:decorative xmlns:adec="http://schemas.microsoft.com/office/drawing/2017/decorative" val="1"/>
              </a:ext>
            </a:extLst>
          </p:cNvPr>
          <p:cNvGrpSpPr/>
          <p:nvPr userDrawn="1"/>
        </p:nvGrpSpPr>
        <p:grpSpPr>
          <a:xfrm>
            <a:off x="6268911" y="1496310"/>
            <a:ext cx="877892" cy="4672600"/>
            <a:chOff x="8358548" y="1496310"/>
            <a:chExt cx="1170522" cy="4672600"/>
          </a:xfrm>
        </p:grpSpPr>
        <p:sp>
          <p:nvSpPr>
            <p:cNvPr id="21" name="Freeform: Shape 20" descr="timeline ">
              <a:extLst>
                <a:ext uri="{FF2B5EF4-FFF2-40B4-BE49-F238E27FC236}">
                  <a16:creationId xmlns:a16="http://schemas.microsoft.com/office/drawing/2014/main" id="{4952EE22-E795-2FC7-052C-2BD82A656C94}"/>
                </a:ext>
              </a:extLst>
            </p:cNvPr>
            <p:cNvSpPr/>
            <p:nvPr userDrawn="1"/>
          </p:nvSpPr>
          <p:spPr>
            <a:xfrm rot="16200000" flipV="1">
              <a:off x="6661201" y="3241639"/>
              <a:ext cx="4565215" cy="1170522"/>
            </a:xfrm>
            <a:custGeom>
              <a:avLst/>
              <a:gdLst>
                <a:gd name="connsiteX0" fmla="*/ 1450750 w 5658193"/>
                <a:gd name="connsiteY0" fmla="*/ 725607 h 1450763"/>
                <a:gd name="connsiteX1" fmla="*/ 1449830 w 5658193"/>
                <a:gd name="connsiteY1" fmla="*/ 725607 h 1450763"/>
                <a:gd name="connsiteX2" fmla="*/ 1449806 w 5658193"/>
                <a:gd name="connsiteY2" fmla="*/ 725382 h 1450763"/>
                <a:gd name="connsiteX3" fmla="*/ 1449830 w 5658193"/>
                <a:gd name="connsiteY3" fmla="*/ 725157 h 1450763"/>
                <a:gd name="connsiteX4" fmla="*/ 1402870 w 5658193"/>
                <a:gd name="connsiteY4" fmla="*/ 725157 h 1450763"/>
                <a:gd name="connsiteX5" fmla="*/ 1389130 w 5658193"/>
                <a:gd name="connsiteY5" fmla="*/ 588840 h 1450763"/>
                <a:gd name="connsiteX6" fmla="*/ 725382 w 5658193"/>
                <a:gd name="connsiteY6" fmla="*/ 47869 h 1450763"/>
                <a:gd name="connsiteX7" fmla="*/ 47868 w 5658193"/>
                <a:gd name="connsiteY7" fmla="*/ 725382 h 1450763"/>
                <a:gd name="connsiteX8" fmla="*/ 47890 w 5658193"/>
                <a:gd name="connsiteY8" fmla="*/ 725607 h 1450763"/>
                <a:gd name="connsiteX9" fmla="*/ 10 w 5658193"/>
                <a:gd name="connsiteY9" fmla="*/ 725607 h 1450763"/>
                <a:gd name="connsiteX10" fmla="*/ 0 w 5658193"/>
                <a:gd name="connsiteY10" fmla="*/ 725382 h 1450763"/>
                <a:gd name="connsiteX11" fmla="*/ 725382 w 5658193"/>
                <a:gd name="connsiteY11" fmla="*/ 1 h 1450763"/>
                <a:gd name="connsiteX12" fmla="*/ 1450762 w 5658193"/>
                <a:gd name="connsiteY12" fmla="*/ 725382 h 1450763"/>
                <a:gd name="connsiteX13" fmla="*/ 4932812 w 5658193"/>
                <a:gd name="connsiteY13" fmla="*/ 1450762 h 1450763"/>
                <a:gd name="connsiteX14" fmla="*/ 4207431 w 5658193"/>
                <a:gd name="connsiteY14" fmla="*/ 725381 h 1450763"/>
                <a:gd name="connsiteX15" fmla="*/ 4207442 w 5658193"/>
                <a:gd name="connsiteY15" fmla="*/ 725156 h 1450763"/>
                <a:gd name="connsiteX16" fmla="*/ 4208363 w 5658193"/>
                <a:gd name="connsiteY16" fmla="*/ 725156 h 1450763"/>
                <a:gd name="connsiteX17" fmla="*/ 4208386 w 5658193"/>
                <a:gd name="connsiteY17" fmla="*/ 725381 h 1450763"/>
                <a:gd name="connsiteX18" fmla="*/ 4208363 w 5658193"/>
                <a:gd name="connsiteY18" fmla="*/ 725606 h 1450763"/>
                <a:gd name="connsiteX19" fmla="*/ 4255322 w 5658193"/>
                <a:gd name="connsiteY19" fmla="*/ 725606 h 1450763"/>
                <a:gd name="connsiteX20" fmla="*/ 4269064 w 5658193"/>
                <a:gd name="connsiteY20" fmla="*/ 861924 h 1450763"/>
                <a:gd name="connsiteX21" fmla="*/ 4932812 w 5658193"/>
                <a:gd name="connsiteY21" fmla="*/ 1402894 h 1450763"/>
                <a:gd name="connsiteX22" fmla="*/ 5610325 w 5658193"/>
                <a:gd name="connsiteY22" fmla="*/ 725381 h 1450763"/>
                <a:gd name="connsiteX23" fmla="*/ 5610302 w 5658193"/>
                <a:gd name="connsiteY23" fmla="*/ 725156 h 1450763"/>
                <a:gd name="connsiteX24" fmla="*/ 5658182 w 5658193"/>
                <a:gd name="connsiteY24" fmla="*/ 725156 h 1450763"/>
                <a:gd name="connsiteX25" fmla="*/ 5658193 w 5658193"/>
                <a:gd name="connsiteY25" fmla="*/ 725381 h 1450763"/>
                <a:gd name="connsiteX26" fmla="*/ 4932812 w 5658193"/>
                <a:gd name="connsiteY26" fmla="*/ 1450762 h 1450763"/>
                <a:gd name="connsiteX27" fmla="*/ 2127320 w 5658193"/>
                <a:gd name="connsiteY27" fmla="*/ 1450763 h 1450763"/>
                <a:gd name="connsiteX28" fmla="*/ 1401938 w 5658193"/>
                <a:gd name="connsiteY28" fmla="*/ 725382 h 1450763"/>
                <a:gd name="connsiteX29" fmla="*/ 1401950 w 5658193"/>
                <a:gd name="connsiteY29" fmla="*/ 725157 h 1450763"/>
                <a:gd name="connsiteX30" fmla="*/ 1402870 w 5658193"/>
                <a:gd name="connsiteY30" fmla="*/ 725157 h 1450763"/>
                <a:gd name="connsiteX31" fmla="*/ 1402894 w 5658193"/>
                <a:gd name="connsiteY31" fmla="*/ 725382 h 1450763"/>
                <a:gd name="connsiteX32" fmla="*/ 1402870 w 5658193"/>
                <a:gd name="connsiteY32" fmla="*/ 725607 h 1450763"/>
                <a:gd name="connsiteX33" fmla="*/ 1449830 w 5658193"/>
                <a:gd name="connsiteY33" fmla="*/ 725607 h 1450763"/>
                <a:gd name="connsiteX34" fmla="*/ 1463572 w 5658193"/>
                <a:gd name="connsiteY34" fmla="*/ 861925 h 1450763"/>
                <a:gd name="connsiteX35" fmla="*/ 2127320 w 5658193"/>
                <a:gd name="connsiteY35" fmla="*/ 1402895 h 1450763"/>
                <a:gd name="connsiteX36" fmla="*/ 2804833 w 5658193"/>
                <a:gd name="connsiteY36" fmla="*/ 725382 h 1450763"/>
                <a:gd name="connsiteX37" fmla="*/ 2804810 w 5658193"/>
                <a:gd name="connsiteY37" fmla="*/ 725157 h 1450763"/>
                <a:gd name="connsiteX38" fmla="*/ 2805515 w 5658193"/>
                <a:gd name="connsiteY38" fmla="*/ 725157 h 1450763"/>
                <a:gd name="connsiteX39" fmla="*/ 2820229 w 5658193"/>
                <a:gd name="connsiteY39" fmla="*/ 579192 h 1450763"/>
                <a:gd name="connsiteX40" fmla="*/ 3530873 w 5658193"/>
                <a:gd name="connsiteY40" fmla="*/ 0 h 1450763"/>
                <a:gd name="connsiteX41" fmla="*/ 4256254 w 5658193"/>
                <a:gd name="connsiteY41" fmla="*/ 725381 h 1450763"/>
                <a:gd name="connsiteX42" fmla="*/ 4256243 w 5658193"/>
                <a:gd name="connsiteY42" fmla="*/ 725606 h 1450763"/>
                <a:gd name="connsiteX43" fmla="*/ 4255322 w 5658193"/>
                <a:gd name="connsiteY43" fmla="*/ 725606 h 1450763"/>
                <a:gd name="connsiteX44" fmla="*/ 4255299 w 5658193"/>
                <a:gd name="connsiteY44" fmla="*/ 725381 h 1450763"/>
                <a:gd name="connsiteX45" fmla="*/ 4255322 w 5658193"/>
                <a:gd name="connsiteY45" fmla="*/ 725156 h 1450763"/>
                <a:gd name="connsiteX46" fmla="*/ 4208363 w 5658193"/>
                <a:gd name="connsiteY46" fmla="*/ 725156 h 1450763"/>
                <a:gd name="connsiteX47" fmla="*/ 4194621 w 5658193"/>
                <a:gd name="connsiteY47" fmla="*/ 588839 h 1450763"/>
                <a:gd name="connsiteX48" fmla="*/ 3530873 w 5658193"/>
                <a:gd name="connsiteY48" fmla="*/ 47868 h 1450763"/>
                <a:gd name="connsiteX49" fmla="*/ 2853360 w 5658193"/>
                <a:gd name="connsiteY49" fmla="*/ 725381 h 1450763"/>
                <a:gd name="connsiteX50" fmla="*/ 2853383 w 5658193"/>
                <a:gd name="connsiteY50" fmla="*/ 725606 h 1450763"/>
                <a:gd name="connsiteX51" fmla="*/ 2852678 w 5658193"/>
                <a:gd name="connsiteY51" fmla="*/ 725606 h 1450763"/>
                <a:gd name="connsiteX52" fmla="*/ 2837964 w 5658193"/>
                <a:gd name="connsiteY52" fmla="*/ 871572 h 1450763"/>
                <a:gd name="connsiteX53" fmla="*/ 2127320 w 5658193"/>
                <a:gd name="connsiteY53" fmla="*/ 1450763 h 145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58193" h="1450763">
                  <a:moveTo>
                    <a:pt x="1450750" y="725607"/>
                  </a:moveTo>
                  <a:lnTo>
                    <a:pt x="1449830" y="725607"/>
                  </a:lnTo>
                  <a:lnTo>
                    <a:pt x="1449806" y="725382"/>
                  </a:lnTo>
                  <a:lnTo>
                    <a:pt x="1449830" y="725157"/>
                  </a:lnTo>
                  <a:lnTo>
                    <a:pt x="1402870" y="725157"/>
                  </a:lnTo>
                  <a:lnTo>
                    <a:pt x="1389130" y="588840"/>
                  </a:lnTo>
                  <a:cubicBezTo>
                    <a:pt x="1325954" y="280108"/>
                    <a:pt x="1052790" y="47869"/>
                    <a:pt x="725382" y="47869"/>
                  </a:cubicBezTo>
                  <a:cubicBezTo>
                    <a:pt x="351202" y="47869"/>
                    <a:pt x="47868" y="351202"/>
                    <a:pt x="47868" y="725382"/>
                  </a:cubicBezTo>
                  <a:lnTo>
                    <a:pt x="47890" y="725607"/>
                  </a:lnTo>
                  <a:lnTo>
                    <a:pt x="10" y="725607"/>
                  </a:lnTo>
                  <a:lnTo>
                    <a:pt x="0" y="725382"/>
                  </a:lnTo>
                  <a:cubicBezTo>
                    <a:pt x="0" y="324765"/>
                    <a:pt x="324764" y="1"/>
                    <a:pt x="725382" y="1"/>
                  </a:cubicBezTo>
                  <a:cubicBezTo>
                    <a:pt x="1125998" y="1"/>
                    <a:pt x="1450762" y="324765"/>
                    <a:pt x="1450762" y="725382"/>
                  </a:cubicBezTo>
                  <a:close/>
                  <a:moveTo>
                    <a:pt x="4932812" y="1450762"/>
                  </a:moveTo>
                  <a:cubicBezTo>
                    <a:pt x="4532195" y="1450762"/>
                    <a:pt x="4207431" y="1125998"/>
                    <a:pt x="4207431" y="725381"/>
                  </a:cubicBezTo>
                  <a:lnTo>
                    <a:pt x="4207442" y="725156"/>
                  </a:lnTo>
                  <a:lnTo>
                    <a:pt x="4208363" y="725156"/>
                  </a:lnTo>
                  <a:lnTo>
                    <a:pt x="4208386" y="725381"/>
                  </a:lnTo>
                  <a:lnTo>
                    <a:pt x="4208363" y="725606"/>
                  </a:lnTo>
                  <a:lnTo>
                    <a:pt x="4255322" y="725606"/>
                  </a:lnTo>
                  <a:lnTo>
                    <a:pt x="4269064" y="861924"/>
                  </a:lnTo>
                  <a:cubicBezTo>
                    <a:pt x="4332239" y="1170655"/>
                    <a:pt x="4605404" y="1402894"/>
                    <a:pt x="4932812" y="1402894"/>
                  </a:cubicBezTo>
                  <a:cubicBezTo>
                    <a:pt x="5306992" y="1402894"/>
                    <a:pt x="5610325" y="1099561"/>
                    <a:pt x="5610325" y="725381"/>
                  </a:cubicBezTo>
                  <a:lnTo>
                    <a:pt x="5610302" y="725156"/>
                  </a:lnTo>
                  <a:lnTo>
                    <a:pt x="5658182" y="725156"/>
                  </a:lnTo>
                  <a:lnTo>
                    <a:pt x="5658193" y="725381"/>
                  </a:lnTo>
                  <a:cubicBezTo>
                    <a:pt x="5658193" y="1125998"/>
                    <a:pt x="5333429" y="1450762"/>
                    <a:pt x="4932812" y="1450762"/>
                  </a:cubicBezTo>
                  <a:close/>
                  <a:moveTo>
                    <a:pt x="2127320" y="1450763"/>
                  </a:moveTo>
                  <a:cubicBezTo>
                    <a:pt x="1726703" y="1450763"/>
                    <a:pt x="1401938" y="1125999"/>
                    <a:pt x="1401938" y="725382"/>
                  </a:cubicBezTo>
                  <a:lnTo>
                    <a:pt x="1401950" y="725157"/>
                  </a:lnTo>
                  <a:lnTo>
                    <a:pt x="1402870" y="725157"/>
                  </a:lnTo>
                  <a:lnTo>
                    <a:pt x="1402894" y="725382"/>
                  </a:lnTo>
                  <a:lnTo>
                    <a:pt x="1402870" y="725607"/>
                  </a:lnTo>
                  <a:lnTo>
                    <a:pt x="1449830" y="725607"/>
                  </a:lnTo>
                  <a:lnTo>
                    <a:pt x="1463572" y="861925"/>
                  </a:lnTo>
                  <a:cubicBezTo>
                    <a:pt x="1526746" y="1170656"/>
                    <a:pt x="1799912" y="1402895"/>
                    <a:pt x="2127320" y="1402895"/>
                  </a:cubicBezTo>
                  <a:cubicBezTo>
                    <a:pt x="2501500" y="1402895"/>
                    <a:pt x="2804833" y="1099562"/>
                    <a:pt x="2804833" y="725382"/>
                  </a:cubicBezTo>
                  <a:lnTo>
                    <a:pt x="2804810" y="725157"/>
                  </a:lnTo>
                  <a:lnTo>
                    <a:pt x="2805515" y="725157"/>
                  </a:lnTo>
                  <a:lnTo>
                    <a:pt x="2820229" y="579192"/>
                  </a:lnTo>
                  <a:cubicBezTo>
                    <a:pt x="2887868" y="248648"/>
                    <a:pt x="3180333" y="0"/>
                    <a:pt x="3530873" y="0"/>
                  </a:cubicBezTo>
                  <a:cubicBezTo>
                    <a:pt x="3931490" y="0"/>
                    <a:pt x="4256254" y="324764"/>
                    <a:pt x="4256254" y="725381"/>
                  </a:cubicBezTo>
                  <a:lnTo>
                    <a:pt x="4256243" y="725606"/>
                  </a:lnTo>
                  <a:lnTo>
                    <a:pt x="4255322" y="725606"/>
                  </a:lnTo>
                  <a:lnTo>
                    <a:pt x="4255299" y="725381"/>
                  </a:lnTo>
                  <a:lnTo>
                    <a:pt x="4255322" y="725156"/>
                  </a:lnTo>
                  <a:lnTo>
                    <a:pt x="4208363" y="725156"/>
                  </a:lnTo>
                  <a:lnTo>
                    <a:pt x="4194621" y="588839"/>
                  </a:lnTo>
                  <a:cubicBezTo>
                    <a:pt x="4131446" y="280107"/>
                    <a:pt x="3858281" y="47868"/>
                    <a:pt x="3530873" y="47868"/>
                  </a:cubicBezTo>
                  <a:cubicBezTo>
                    <a:pt x="3156693" y="47868"/>
                    <a:pt x="2853360" y="351201"/>
                    <a:pt x="2853360" y="725381"/>
                  </a:cubicBezTo>
                  <a:lnTo>
                    <a:pt x="2853383" y="725606"/>
                  </a:lnTo>
                  <a:lnTo>
                    <a:pt x="2852678" y="725606"/>
                  </a:lnTo>
                  <a:lnTo>
                    <a:pt x="2837964" y="871572"/>
                  </a:lnTo>
                  <a:cubicBezTo>
                    <a:pt x="2770325" y="1202116"/>
                    <a:pt x="2477860" y="1450763"/>
                    <a:pt x="2127320" y="1450763"/>
                  </a:cubicBezTo>
                  <a:close/>
                </a:path>
              </a:pathLst>
            </a:custGeom>
            <a:gradFill>
              <a:gsLst>
                <a:gs pos="56000">
                  <a:schemeClr val="accent6"/>
                </a:gs>
                <a:gs pos="36000">
                  <a:schemeClr val="accent5"/>
                </a:gs>
                <a:gs pos="15000">
                  <a:schemeClr val="accent4"/>
                </a:gs>
                <a:gs pos="100000">
                  <a:schemeClr val="accent3"/>
                </a:gs>
              </a:gsLst>
              <a:lin ang="10800000" scaled="0"/>
            </a:gra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000" dirty="0">
                <a:solidFill>
                  <a:schemeClr val="bg1"/>
                </a:solidFill>
              </a:endParaRPr>
            </a:p>
          </p:txBody>
        </p:sp>
        <p:sp>
          <p:nvSpPr>
            <p:cNvPr id="22" name="Oval 21" descr="timeline endpoints">
              <a:extLst>
                <a:ext uri="{FF2B5EF4-FFF2-40B4-BE49-F238E27FC236}">
                  <a16:creationId xmlns:a16="http://schemas.microsoft.com/office/drawing/2014/main" id="{8D2BA49E-8E76-1626-C082-0F0B29E6A6C1}"/>
                </a:ext>
              </a:extLst>
            </p:cNvPr>
            <p:cNvSpPr/>
            <p:nvPr userDrawn="1"/>
          </p:nvSpPr>
          <p:spPr>
            <a:xfrm>
              <a:off x="8863102" y="1496310"/>
              <a:ext cx="137199" cy="137199"/>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3" name="Oval 22" descr="timeline endpoints">
              <a:extLst>
                <a:ext uri="{FF2B5EF4-FFF2-40B4-BE49-F238E27FC236}">
                  <a16:creationId xmlns:a16="http://schemas.microsoft.com/office/drawing/2014/main" id="{870CE816-FC7D-CDF1-F5DD-D83DDC380C90}"/>
                </a:ext>
              </a:extLst>
            </p:cNvPr>
            <p:cNvSpPr/>
            <p:nvPr userDrawn="1"/>
          </p:nvSpPr>
          <p:spPr>
            <a:xfrm>
              <a:off x="8863102" y="6031711"/>
              <a:ext cx="137199" cy="137199"/>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2">
                    <a:lumMod val="75000"/>
                  </a:schemeClr>
                </a:solidFill>
              </a:endParaRPr>
            </a:p>
          </p:txBody>
        </p:sp>
      </p:grpSp>
      <p:sp>
        <p:nvSpPr>
          <p:cNvPr id="24" name="Text Placeholder 17">
            <a:extLst>
              <a:ext uri="{FF2B5EF4-FFF2-40B4-BE49-F238E27FC236}">
                <a16:creationId xmlns:a16="http://schemas.microsoft.com/office/drawing/2014/main" id="{FF44018C-13EE-748B-B820-E02F62C1B2B1}"/>
              </a:ext>
            </a:extLst>
          </p:cNvPr>
          <p:cNvSpPr>
            <a:spLocks noGrp="1"/>
          </p:cNvSpPr>
          <p:nvPr>
            <p:ph type="body" sz="quarter" idx="46" hasCustomPrompt="1"/>
          </p:nvPr>
        </p:nvSpPr>
        <p:spPr>
          <a:xfrm>
            <a:off x="313184" y="1709039"/>
            <a:ext cx="603504" cy="804672"/>
          </a:xfrm>
          <a:prstGeom prst="ellipse">
            <a:avLst/>
          </a:prstGeom>
          <a:ln w="38100">
            <a:solidFill>
              <a:schemeClr val="accent4"/>
            </a:solidFill>
          </a:ln>
        </p:spPr>
        <p:txBody>
          <a:bodyPr anchor="ctr">
            <a:normAutofit/>
          </a:bodyPr>
          <a:lstStyle>
            <a:lvl1pPr marL="0" indent="0" algn="ctr">
              <a:buNone/>
              <a:defRPr sz="1500" cap="all" baseline="0">
                <a:solidFill>
                  <a:schemeClr val="accent4"/>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1</a:t>
            </a:r>
          </a:p>
        </p:txBody>
      </p:sp>
      <p:sp>
        <p:nvSpPr>
          <p:cNvPr id="25" name="Text Placeholder 17">
            <a:extLst>
              <a:ext uri="{FF2B5EF4-FFF2-40B4-BE49-F238E27FC236}">
                <a16:creationId xmlns:a16="http://schemas.microsoft.com/office/drawing/2014/main" id="{BAF4CB08-A110-AEA1-5307-2871FEE2CA1A}"/>
              </a:ext>
            </a:extLst>
          </p:cNvPr>
          <p:cNvSpPr>
            <a:spLocks noGrp="1"/>
          </p:cNvSpPr>
          <p:nvPr>
            <p:ph type="body" sz="quarter" idx="47" hasCustomPrompt="1"/>
          </p:nvPr>
        </p:nvSpPr>
        <p:spPr>
          <a:xfrm>
            <a:off x="313184" y="2854501"/>
            <a:ext cx="603504" cy="804672"/>
          </a:xfrm>
          <a:prstGeom prst="ellipse">
            <a:avLst/>
          </a:prstGeom>
          <a:ln w="38100">
            <a:solidFill>
              <a:schemeClr val="accent5"/>
            </a:solidFill>
          </a:ln>
        </p:spPr>
        <p:txBody>
          <a:bodyPr anchor="ctr">
            <a:normAutofit/>
          </a:bodyPr>
          <a:lstStyle>
            <a:lvl1pPr marL="0" indent="0" algn="ctr">
              <a:buNone/>
              <a:defRPr sz="1500" cap="all" baseline="0">
                <a:solidFill>
                  <a:schemeClr val="accent5"/>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2</a:t>
            </a:r>
          </a:p>
        </p:txBody>
      </p:sp>
      <p:sp>
        <p:nvSpPr>
          <p:cNvPr id="26" name="Text Placeholder 17">
            <a:extLst>
              <a:ext uri="{FF2B5EF4-FFF2-40B4-BE49-F238E27FC236}">
                <a16:creationId xmlns:a16="http://schemas.microsoft.com/office/drawing/2014/main" id="{A9174361-1319-57DB-45D4-13BE0DB18271}"/>
              </a:ext>
            </a:extLst>
          </p:cNvPr>
          <p:cNvSpPr>
            <a:spLocks noGrp="1"/>
          </p:cNvSpPr>
          <p:nvPr>
            <p:ph type="body" sz="quarter" idx="48" hasCustomPrompt="1"/>
          </p:nvPr>
        </p:nvSpPr>
        <p:spPr>
          <a:xfrm>
            <a:off x="313184" y="3988708"/>
            <a:ext cx="603504" cy="804672"/>
          </a:xfrm>
          <a:prstGeom prst="ellipse">
            <a:avLst/>
          </a:prstGeom>
          <a:ln w="38100">
            <a:solidFill>
              <a:schemeClr val="accent6"/>
            </a:solidFill>
          </a:ln>
        </p:spPr>
        <p:txBody>
          <a:bodyPr anchor="ctr">
            <a:normAutofit/>
          </a:bodyPr>
          <a:lstStyle>
            <a:lvl1pPr marL="0" indent="0" algn="ctr">
              <a:buNone/>
              <a:defRPr sz="1500" cap="all" baseline="0">
                <a:solidFill>
                  <a:schemeClr val="accent6"/>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3</a:t>
            </a:r>
          </a:p>
        </p:txBody>
      </p:sp>
      <p:sp>
        <p:nvSpPr>
          <p:cNvPr id="27" name="Text Placeholder 17">
            <a:extLst>
              <a:ext uri="{FF2B5EF4-FFF2-40B4-BE49-F238E27FC236}">
                <a16:creationId xmlns:a16="http://schemas.microsoft.com/office/drawing/2014/main" id="{C5889C5B-72CA-D335-92AD-FCB9FEDAB85C}"/>
              </a:ext>
            </a:extLst>
          </p:cNvPr>
          <p:cNvSpPr>
            <a:spLocks noGrp="1"/>
          </p:cNvSpPr>
          <p:nvPr>
            <p:ph type="body" sz="quarter" idx="49" hasCustomPrompt="1"/>
          </p:nvPr>
        </p:nvSpPr>
        <p:spPr>
          <a:xfrm>
            <a:off x="313184" y="5122915"/>
            <a:ext cx="603504" cy="804672"/>
          </a:xfrm>
          <a:prstGeom prst="ellipse">
            <a:avLst/>
          </a:prstGeom>
          <a:ln w="38100">
            <a:solidFill>
              <a:schemeClr val="accent3"/>
            </a:solidFill>
          </a:ln>
        </p:spPr>
        <p:txBody>
          <a:bodyPr anchor="ctr">
            <a:normAutofit/>
          </a:bodyPr>
          <a:lstStyle>
            <a:lvl1pPr marL="0" indent="0" algn="ctr">
              <a:buNone/>
              <a:defRPr sz="1500" cap="all" baseline="0">
                <a:solidFill>
                  <a:schemeClr val="accent3"/>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4</a:t>
            </a:r>
          </a:p>
        </p:txBody>
      </p:sp>
      <p:sp>
        <p:nvSpPr>
          <p:cNvPr id="49" name="Text Placeholder 48">
            <a:extLst>
              <a:ext uri="{FF2B5EF4-FFF2-40B4-BE49-F238E27FC236}">
                <a16:creationId xmlns:a16="http://schemas.microsoft.com/office/drawing/2014/main" id="{14742123-85C4-4775-80AC-721BD7C16285}"/>
              </a:ext>
            </a:extLst>
          </p:cNvPr>
          <p:cNvSpPr>
            <a:spLocks noGrp="1"/>
          </p:cNvSpPr>
          <p:nvPr>
            <p:ph type="body" sz="quarter" idx="10" hasCustomPrompt="1"/>
          </p:nvPr>
        </p:nvSpPr>
        <p:spPr>
          <a:xfrm>
            <a:off x="1185045" y="1776098"/>
            <a:ext cx="1714500" cy="302186"/>
          </a:xfrm>
        </p:spPr>
        <p:txBody>
          <a:bodyPr>
            <a:noAutofit/>
          </a:bodyPr>
          <a:lstStyle>
            <a:lvl1pPr marL="0" indent="0">
              <a:buNone/>
              <a:defRPr sz="1350" b="1" cap="all" baseline="0">
                <a:solidFill>
                  <a:schemeClr val="accent4"/>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1" name="Text Placeholder 50">
            <a:extLst>
              <a:ext uri="{FF2B5EF4-FFF2-40B4-BE49-F238E27FC236}">
                <a16:creationId xmlns:a16="http://schemas.microsoft.com/office/drawing/2014/main" id="{E1001174-581F-41A6-864B-D3BE932C2E47}"/>
              </a:ext>
            </a:extLst>
          </p:cNvPr>
          <p:cNvSpPr>
            <a:spLocks noGrp="1"/>
          </p:cNvSpPr>
          <p:nvPr>
            <p:ph type="body" sz="quarter" idx="11" hasCustomPrompt="1"/>
          </p:nvPr>
        </p:nvSpPr>
        <p:spPr>
          <a:xfrm>
            <a:off x="1185045" y="2111375"/>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56" name="Text Placeholder 48">
            <a:extLst>
              <a:ext uri="{FF2B5EF4-FFF2-40B4-BE49-F238E27FC236}">
                <a16:creationId xmlns:a16="http://schemas.microsoft.com/office/drawing/2014/main" id="{F6AF03D4-E441-4447-876C-A1B030223E2D}"/>
              </a:ext>
            </a:extLst>
          </p:cNvPr>
          <p:cNvSpPr>
            <a:spLocks noGrp="1"/>
          </p:cNvSpPr>
          <p:nvPr>
            <p:ph type="body" sz="quarter" idx="16" hasCustomPrompt="1"/>
          </p:nvPr>
        </p:nvSpPr>
        <p:spPr>
          <a:xfrm>
            <a:off x="1185045" y="2914739"/>
            <a:ext cx="1714500" cy="302186"/>
          </a:xfrm>
        </p:spPr>
        <p:txBody>
          <a:bodyPr>
            <a:noAutofit/>
          </a:bodyPr>
          <a:lstStyle>
            <a:lvl1pPr marL="0" indent="0">
              <a:buNone/>
              <a:defRPr sz="1350" b="1" cap="all" baseline="0">
                <a:solidFill>
                  <a:schemeClr val="accent5"/>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7" name="Text Placeholder 50">
            <a:extLst>
              <a:ext uri="{FF2B5EF4-FFF2-40B4-BE49-F238E27FC236}">
                <a16:creationId xmlns:a16="http://schemas.microsoft.com/office/drawing/2014/main" id="{679D428E-9700-4E19-8364-70006C3E765E}"/>
              </a:ext>
            </a:extLst>
          </p:cNvPr>
          <p:cNvSpPr>
            <a:spLocks noGrp="1"/>
          </p:cNvSpPr>
          <p:nvPr>
            <p:ph type="body" sz="quarter" idx="17" hasCustomPrompt="1"/>
          </p:nvPr>
        </p:nvSpPr>
        <p:spPr>
          <a:xfrm>
            <a:off x="1185045" y="3254810"/>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62" name="Text Placeholder 48">
            <a:extLst>
              <a:ext uri="{FF2B5EF4-FFF2-40B4-BE49-F238E27FC236}">
                <a16:creationId xmlns:a16="http://schemas.microsoft.com/office/drawing/2014/main" id="{563D0C18-5125-4D0F-B46D-76AE182B3FA2}"/>
              </a:ext>
            </a:extLst>
          </p:cNvPr>
          <p:cNvSpPr>
            <a:spLocks noGrp="1"/>
          </p:cNvSpPr>
          <p:nvPr>
            <p:ph type="body" sz="quarter" idx="22" hasCustomPrompt="1"/>
          </p:nvPr>
        </p:nvSpPr>
        <p:spPr>
          <a:xfrm>
            <a:off x="1185045" y="4057987"/>
            <a:ext cx="1714500" cy="302186"/>
          </a:xfrm>
        </p:spPr>
        <p:txBody>
          <a:bodyPr>
            <a:noAutofit/>
          </a:bodyPr>
          <a:lstStyle>
            <a:lvl1pPr marL="0" indent="0">
              <a:buNone/>
              <a:defRPr sz="1350" b="1" cap="all" baseline="0">
                <a:solidFill>
                  <a:schemeClr val="accent6"/>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63" name="Text Placeholder 50">
            <a:extLst>
              <a:ext uri="{FF2B5EF4-FFF2-40B4-BE49-F238E27FC236}">
                <a16:creationId xmlns:a16="http://schemas.microsoft.com/office/drawing/2014/main" id="{10634501-CE83-42B9-8572-5C6B73710869}"/>
              </a:ext>
            </a:extLst>
          </p:cNvPr>
          <p:cNvSpPr>
            <a:spLocks noGrp="1"/>
          </p:cNvSpPr>
          <p:nvPr>
            <p:ph type="body" sz="quarter" idx="23" hasCustomPrompt="1"/>
          </p:nvPr>
        </p:nvSpPr>
        <p:spPr>
          <a:xfrm>
            <a:off x="1185045" y="4392591"/>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68" name="Text Placeholder 48">
            <a:extLst>
              <a:ext uri="{FF2B5EF4-FFF2-40B4-BE49-F238E27FC236}">
                <a16:creationId xmlns:a16="http://schemas.microsoft.com/office/drawing/2014/main" id="{120E072F-4FF5-422F-B7FD-BE3DF026010F}"/>
              </a:ext>
            </a:extLst>
          </p:cNvPr>
          <p:cNvSpPr>
            <a:spLocks noGrp="1"/>
          </p:cNvSpPr>
          <p:nvPr>
            <p:ph type="body" sz="quarter" idx="28" hasCustomPrompt="1"/>
          </p:nvPr>
        </p:nvSpPr>
        <p:spPr>
          <a:xfrm>
            <a:off x="1185045" y="5231920"/>
            <a:ext cx="1714500" cy="302186"/>
          </a:xfrm>
        </p:spPr>
        <p:txBody>
          <a:bodyPr>
            <a:noAutofit/>
          </a:bodyPr>
          <a:lstStyle>
            <a:lvl1pPr marL="0" indent="0">
              <a:buNone/>
              <a:defRPr sz="1350" b="1" cap="all" baseline="0">
                <a:solidFill>
                  <a:schemeClr val="accent3"/>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69" name="Text Placeholder 50">
            <a:extLst>
              <a:ext uri="{FF2B5EF4-FFF2-40B4-BE49-F238E27FC236}">
                <a16:creationId xmlns:a16="http://schemas.microsoft.com/office/drawing/2014/main" id="{E73E6162-F4E3-4F6D-BA12-6B5918E23B8E}"/>
              </a:ext>
            </a:extLst>
          </p:cNvPr>
          <p:cNvSpPr>
            <a:spLocks noGrp="1"/>
          </p:cNvSpPr>
          <p:nvPr>
            <p:ph type="body" sz="quarter" idx="29" hasCustomPrompt="1"/>
          </p:nvPr>
        </p:nvSpPr>
        <p:spPr>
          <a:xfrm>
            <a:off x="1185045" y="5566524"/>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28" name="Text Placeholder 17">
            <a:extLst>
              <a:ext uri="{FF2B5EF4-FFF2-40B4-BE49-F238E27FC236}">
                <a16:creationId xmlns:a16="http://schemas.microsoft.com/office/drawing/2014/main" id="{D7DE5D79-599D-DFB8-ABE9-922A0E8FCF90}"/>
              </a:ext>
            </a:extLst>
          </p:cNvPr>
          <p:cNvSpPr>
            <a:spLocks noGrp="1"/>
          </p:cNvSpPr>
          <p:nvPr>
            <p:ph type="body" sz="quarter" idx="50" hasCustomPrompt="1"/>
          </p:nvPr>
        </p:nvSpPr>
        <p:spPr>
          <a:xfrm>
            <a:off x="3413165" y="1709039"/>
            <a:ext cx="603504" cy="804672"/>
          </a:xfrm>
          <a:prstGeom prst="ellipse">
            <a:avLst/>
          </a:prstGeom>
          <a:ln w="38100">
            <a:solidFill>
              <a:schemeClr val="accent4"/>
            </a:solidFill>
          </a:ln>
        </p:spPr>
        <p:txBody>
          <a:bodyPr anchor="ctr">
            <a:normAutofit/>
          </a:bodyPr>
          <a:lstStyle>
            <a:lvl1pPr marL="0" indent="0" algn="ctr">
              <a:buNone/>
              <a:defRPr sz="1500" cap="all" baseline="0">
                <a:solidFill>
                  <a:schemeClr val="accent4"/>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1</a:t>
            </a:r>
          </a:p>
        </p:txBody>
      </p:sp>
      <p:sp>
        <p:nvSpPr>
          <p:cNvPr id="29" name="Text Placeholder 17">
            <a:extLst>
              <a:ext uri="{FF2B5EF4-FFF2-40B4-BE49-F238E27FC236}">
                <a16:creationId xmlns:a16="http://schemas.microsoft.com/office/drawing/2014/main" id="{C3CA893D-4ACF-DFF1-9805-37620DBE00F6}"/>
              </a:ext>
            </a:extLst>
          </p:cNvPr>
          <p:cNvSpPr>
            <a:spLocks noGrp="1"/>
          </p:cNvSpPr>
          <p:nvPr>
            <p:ph type="body" sz="quarter" idx="51" hasCustomPrompt="1"/>
          </p:nvPr>
        </p:nvSpPr>
        <p:spPr>
          <a:xfrm>
            <a:off x="3413165" y="2854501"/>
            <a:ext cx="603504" cy="804672"/>
          </a:xfrm>
          <a:prstGeom prst="ellipse">
            <a:avLst/>
          </a:prstGeom>
          <a:ln w="38100">
            <a:solidFill>
              <a:schemeClr val="accent5"/>
            </a:solidFill>
          </a:ln>
        </p:spPr>
        <p:txBody>
          <a:bodyPr anchor="ctr">
            <a:normAutofit/>
          </a:bodyPr>
          <a:lstStyle>
            <a:lvl1pPr marL="0" indent="0" algn="ctr">
              <a:buNone/>
              <a:defRPr sz="1500" cap="all" baseline="0">
                <a:solidFill>
                  <a:schemeClr val="accent5"/>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2</a:t>
            </a:r>
          </a:p>
        </p:txBody>
      </p:sp>
      <p:sp>
        <p:nvSpPr>
          <p:cNvPr id="30" name="Text Placeholder 17">
            <a:extLst>
              <a:ext uri="{FF2B5EF4-FFF2-40B4-BE49-F238E27FC236}">
                <a16:creationId xmlns:a16="http://schemas.microsoft.com/office/drawing/2014/main" id="{1547E96D-DC67-55BA-2A08-4A74F1C63C27}"/>
              </a:ext>
            </a:extLst>
          </p:cNvPr>
          <p:cNvSpPr>
            <a:spLocks noGrp="1"/>
          </p:cNvSpPr>
          <p:nvPr>
            <p:ph type="body" sz="quarter" idx="52" hasCustomPrompt="1"/>
          </p:nvPr>
        </p:nvSpPr>
        <p:spPr>
          <a:xfrm>
            <a:off x="3413165" y="3988708"/>
            <a:ext cx="603504" cy="804672"/>
          </a:xfrm>
          <a:prstGeom prst="ellipse">
            <a:avLst/>
          </a:prstGeom>
          <a:ln w="38100">
            <a:solidFill>
              <a:schemeClr val="accent6"/>
            </a:solidFill>
          </a:ln>
        </p:spPr>
        <p:txBody>
          <a:bodyPr anchor="ctr">
            <a:normAutofit/>
          </a:bodyPr>
          <a:lstStyle>
            <a:lvl1pPr marL="0" indent="0" algn="ctr">
              <a:buNone/>
              <a:defRPr sz="1500" cap="all" baseline="0">
                <a:solidFill>
                  <a:schemeClr val="accent6"/>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3</a:t>
            </a:r>
          </a:p>
        </p:txBody>
      </p:sp>
      <p:sp>
        <p:nvSpPr>
          <p:cNvPr id="31" name="Text Placeholder 17">
            <a:extLst>
              <a:ext uri="{FF2B5EF4-FFF2-40B4-BE49-F238E27FC236}">
                <a16:creationId xmlns:a16="http://schemas.microsoft.com/office/drawing/2014/main" id="{FA1E7B28-3ADC-1890-14E4-6F9A13C95C0F}"/>
              </a:ext>
            </a:extLst>
          </p:cNvPr>
          <p:cNvSpPr>
            <a:spLocks noGrp="1"/>
          </p:cNvSpPr>
          <p:nvPr>
            <p:ph type="body" sz="quarter" idx="53" hasCustomPrompt="1"/>
          </p:nvPr>
        </p:nvSpPr>
        <p:spPr>
          <a:xfrm>
            <a:off x="3413165" y="5122915"/>
            <a:ext cx="603504" cy="804672"/>
          </a:xfrm>
          <a:prstGeom prst="ellipse">
            <a:avLst/>
          </a:prstGeom>
          <a:ln w="38100">
            <a:solidFill>
              <a:schemeClr val="accent3"/>
            </a:solidFill>
          </a:ln>
        </p:spPr>
        <p:txBody>
          <a:bodyPr anchor="ctr">
            <a:normAutofit/>
          </a:bodyPr>
          <a:lstStyle>
            <a:lvl1pPr marL="0" indent="0" algn="ctr">
              <a:buNone/>
              <a:defRPr sz="1500" cap="all" baseline="0">
                <a:solidFill>
                  <a:schemeClr val="accent3"/>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4</a:t>
            </a:r>
          </a:p>
        </p:txBody>
      </p:sp>
      <p:sp>
        <p:nvSpPr>
          <p:cNvPr id="52" name="Text Placeholder 48">
            <a:extLst>
              <a:ext uri="{FF2B5EF4-FFF2-40B4-BE49-F238E27FC236}">
                <a16:creationId xmlns:a16="http://schemas.microsoft.com/office/drawing/2014/main" id="{2B649793-2AFC-43EE-8172-0EAB326F1130}"/>
              </a:ext>
            </a:extLst>
          </p:cNvPr>
          <p:cNvSpPr>
            <a:spLocks noGrp="1"/>
          </p:cNvSpPr>
          <p:nvPr>
            <p:ph type="body" sz="quarter" idx="12" hasCustomPrompt="1"/>
          </p:nvPr>
        </p:nvSpPr>
        <p:spPr>
          <a:xfrm>
            <a:off x="4255905" y="1776098"/>
            <a:ext cx="1714500" cy="302186"/>
          </a:xfrm>
        </p:spPr>
        <p:txBody>
          <a:bodyPr>
            <a:noAutofit/>
          </a:bodyPr>
          <a:lstStyle>
            <a:lvl1pPr marL="0" indent="0">
              <a:buNone/>
              <a:defRPr sz="1350" b="1" cap="all" baseline="0">
                <a:solidFill>
                  <a:schemeClr val="accent4"/>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3" name="Text Placeholder 50">
            <a:extLst>
              <a:ext uri="{FF2B5EF4-FFF2-40B4-BE49-F238E27FC236}">
                <a16:creationId xmlns:a16="http://schemas.microsoft.com/office/drawing/2014/main" id="{5B27745F-27CA-45D0-BE8E-A9C3B168F465}"/>
              </a:ext>
            </a:extLst>
          </p:cNvPr>
          <p:cNvSpPr>
            <a:spLocks noGrp="1"/>
          </p:cNvSpPr>
          <p:nvPr>
            <p:ph type="body" sz="quarter" idx="13" hasCustomPrompt="1"/>
          </p:nvPr>
        </p:nvSpPr>
        <p:spPr>
          <a:xfrm>
            <a:off x="4255905" y="2111375"/>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58" name="Text Placeholder 48">
            <a:extLst>
              <a:ext uri="{FF2B5EF4-FFF2-40B4-BE49-F238E27FC236}">
                <a16:creationId xmlns:a16="http://schemas.microsoft.com/office/drawing/2014/main" id="{5B64A0D9-EA5C-4EC1-981A-0FD223A62FB0}"/>
              </a:ext>
            </a:extLst>
          </p:cNvPr>
          <p:cNvSpPr>
            <a:spLocks noGrp="1"/>
          </p:cNvSpPr>
          <p:nvPr>
            <p:ph type="body" sz="quarter" idx="18" hasCustomPrompt="1"/>
          </p:nvPr>
        </p:nvSpPr>
        <p:spPr>
          <a:xfrm>
            <a:off x="4255905" y="2914739"/>
            <a:ext cx="1714500" cy="302186"/>
          </a:xfrm>
        </p:spPr>
        <p:txBody>
          <a:bodyPr>
            <a:noAutofit/>
          </a:bodyPr>
          <a:lstStyle>
            <a:lvl1pPr marL="0" indent="0">
              <a:buNone/>
              <a:defRPr sz="1350" b="1" cap="all" baseline="0">
                <a:solidFill>
                  <a:schemeClr val="accent5"/>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9" name="Text Placeholder 50">
            <a:extLst>
              <a:ext uri="{FF2B5EF4-FFF2-40B4-BE49-F238E27FC236}">
                <a16:creationId xmlns:a16="http://schemas.microsoft.com/office/drawing/2014/main" id="{7F9CD6F4-7AEE-42A4-B26D-96BE3E900368}"/>
              </a:ext>
            </a:extLst>
          </p:cNvPr>
          <p:cNvSpPr>
            <a:spLocks noGrp="1"/>
          </p:cNvSpPr>
          <p:nvPr>
            <p:ph type="body" sz="quarter" idx="19" hasCustomPrompt="1"/>
          </p:nvPr>
        </p:nvSpPr>
        <p:spPr>
          <a:xfrm>
            <a:off x="4255905" y="3254810"/>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64" name="Text Placeholder 48">
            <a:extLst>
              <a:ext uri="{FF2B5EF4-FFF2-40B4-BE49-F238E27FC236}">
                <a16:creationId xmlns:a16="http://schemas.microsoft.com/office/drawing/2014/main" id="{54844B85-1B28-4340-AA8C-10A0C2A36C9E}"/>
              </a:ext>
            </a:extLst>
          </p:cNvPr>
          <p:cNvSpPr>
            <a:spLocks noGrp="1"/>
          </p:cNvSpPr>
          <p:nvPr>
            <p:ph type="body" sz="quarter" idx="24" hasCustomPrompt="1"/>
          </p:nvPr>
        </p:nvSpPr>
        <p:spPr>
          <a:xfrm>
            <a:off x="4255905" y="4057987"/>
            <a:ext cx="1714500" cy="302186"/>
          </a:xfrm>
        </p:spPr>
        <p:txBody>
          <a:bodyPr>
            <a:noAutofit/>
          </a:bodyPr>
          <a:lstStyle>
            <a:lvl1pPr marL="0" indent="0">
              <a:buNone/>
              <a:defRPr sz="1350" b="1" cap="all" baseline="0">
                <a:solidFill>
                  <a:schemeClr val="accent6"/>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65" name="Text Placeholder 50">
            <a:extLst>
              <a:ext uri="{FF2B5EF4-FFF2-40B4-BE49-F238E27FC236}">
                <a16:creationId xmlns:a16="http://schemas.microsoft.com/office/drawing/2014/main" id="{31BB84F0-3823-46DB-BCEF-5EF3F8E680CF}"/>
              </a:ext>
            </a:extLst>
          </p:cNvPr>
          <p:cNvSpPr>
            <a:spLocks noGrp="1"/>
          </p:cNvSpPr>
          <p:nvPr>
            <p:ph type="body" sz="quarter" idx="25" hasCustomPrompt="1"/>
          </p:nvPr>
        </p:nvSpPr>
        <p:spPr>
          <a:xfrm>
            <a:off x="4255905" y="4392591"/>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70" name="Text Placeholder 48">
            <a:extLst>
              <a:ext uri="{FF2B5EF4-FFF2-40B4-BE49-F238E27FC236}">
                <a16:creationId xmlns:a16="http://schemas.microsoft.com/office/drawing/2014/main" id="{C9938F8E-67A2-401C-882C-ED04C7E5224B}"/>
              </a:ext>
            </a:extLst>
          </p:cNvPr>
          <p:cNvSpPr>
            <a:spLocks noGrp="1"/>
          </p:cNvSpPr>
          <p:nvPr>
            <p:ph type="body" sz="quarter" idx="30" hasCustomPrompt="1"/>
          </p:nvPr>
        </p:nvSpPr>
        <p:spPr>
          <a:xfrm>
            <a:off x="4255905" y="5231920"/>
            <a:ext cx="1714500" cy="302186"/>
          </a:xfrm>
        </p:spPr>
        <p:txBody>
          <a:bodyPr>
            <a:noAutofit/>
          </a:bodyPr>
          <a:lstStyle>
            <a:lvl1pPr marL="0" indent="0">
              <a:buNone/>
              <a:defRPr sz="1350" b="1" cap="all" baseline="0">
                <a:solidFill>
                  <a:schemeClr val="accent3"/>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71" name="Text Placeholder 50">
            <a:extLst>
              <a:ext uri="{FF2B5EF4-FFF2-40B4-BE49-F238E27FC236}">
                <a16:creationId xmlns:a16="http://schemas.microsoft.com/office/drawing/2014/main" id="{E683DBE3-DCA5-4538-A253-E60ED2C4B621}"/>
              </a:ext>
            </a:extLst>
          </p:cNvPr>
          <p:cNvSpPr>
            <a:spLocks noGrp="1"/>
          </p:cNvSpPr>
          <p:nvPr>
            <p:ph type="body" sz="quarter" idx="31" hasCustomPrompt="1"/>
          </p:nvPr>
        </p:nvSpPr>
        <p:spPr>
          <a:xfrm>
            <a:off x="4255905" y="5566524"/>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32" name="Text Placeholder 17">
            <a:extLst>
              <a:ext uri="{FF2B5EF4-FFF2-40B4-BE49-F238E27FC236}">
                <a16:creationId xmlns:a16="http://schemas.microsoft.com/office/drawing/2014/main" id="{B373CF34-717A-BA57-91E4-2577FD317FEE}"/>
              </a:ext>
            </a:extLst>
          </p:cNvPr>
          <p:cNvSpPr>
            <a:spLocks noGrp="1"/>
          </p:cNvSpPr>
          <p:nvPr>
            <p:ph type="body" sz="quarter" idx="54" hasCustomPrompt="1"/>
          </p:nvPr>
        </p:nvSpPr>
        <p:spPr>
          <a:xfrm>
            <a:off x="6393688" y="1709039"/>
            <a:ext cx="603504" cy="804672"/>
          </a:xfrm>
          <a:prstGeom prst="ellipse">
            <a:avLst/>
          </a:prstGeom>
          <a:ln w="38100">
            <a:solidFill>
              <a:schemeClr val="accent4"/>
            </a:solidFill>
          </a:ln>
        </p:spPr>
        <p:txBody>
          <a:bodyPr anchor="ctr">
            <a:normAutofit/>
          </a:bodyPr>
          <a:lstStyle>
            <a:lvl1pPr marL="0" indent="0" algn="ctr">
              <a:buNone/>
              <a:defRPr sz="1500" cap="all" baseline="0">
                <a:solidFill>
                  <a:schemeClr val="accent4"/>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1</a:t>
            </a:r>
          </a:p>
        </p:txBody>
      </p:sp>
      <p:sp>
        <p:nvSpPr>
          <p:cNvPr id="33" name="Text Placeholder 17">
            <a:extLst>
              <a:ext uri="{FF2B5EF4-FFF2-40B4-BE49-F238E27FC236}">
                <a16:creationId xmlns:a16="http://schemas.microsoft.com/office/drawing/2014/main" id="{411A0259-BEF2-E04F-DD42-1C1A80D357D4}"/>
              </a:ext>
            </a:extLst>
          </p:cNvPr>
          <p:cNvSpPr>
            <a:spLocks noGrp="1"/>
          </p:cNvSpPr>
          <p:nvPr>
            <p:ph type="body" sz="quarter" idx="55" hasCustomPrompt="1"/>
          </p:nvPr>
        </p:nvSpPr>
        <p:spPr>
          <a:xfrm>
            <a:off x="6393688" y="2854501"/>
            <a:ext cx="603504" cy="804672"/>
          </a:xfrm>
          <a:prstGeom prst="ellipse">
            <a:avLst/>
          </a:prstGeom>
          <a:ln w="38100">
            <a:solidFill>
              <a:schemeClr val="accent5"/>
            </a:solidFill>
          </a:ln>
        </p:spPr>
        <p:txBody>
          <a:bodyPr anchor="ctr">
            <a:normAutofit/>
          </a:bodyPr>
          <a:lstStyle>
            <a:lvl1pPr marL="0" indent="0" algn="ctr">
              <a:buNone/>
              <a:defRPr sz="1500" cap="all" baseline="0">
                <a:solidFill>
                  <a:schemeClr val="accent5"/>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2</a:t>
            </a:r>
          </a:p>
        </p:txBody>
      </p:sp>
      <p:sp>
        <p:nvSpPr>
          <p:cNvPr id="34" name="Text Placeholder 17">
            <a:extLst>
              <a:ext uri="{FF2B5EF4-FFF2-40B4-BE49-F238E27FC236}">
                <a16:creationId xmlns:a16="http://schemas.microsoft.com/office/drawing/2014/main" id="{44B6D202-4D05-9FD2-4B6F-3D8B92934EE5}"/>
              </a:ext>
            </a:extLst>
          </p:cNvPr>
          <p:cNvSpPr>
            <a:spLocks noGrp="1"/>
          </p:cNvSpPr>
          <p:nvPr>
            <p:ph type="body" sz="quarter" idx="56" hasCustomPrompt="1"/>
          </p:nvPr>
        </p:nvSpPr>
        <p:spPr>
          <a:xfrm>
            <a:off x="6393688" y="3988708"/>
            <a:ext cx="603504" cy="804672"/>
          </a:xfrm>
          <a:prstGeom prst="ellipse">
            <a:avLst/>
          </a:prstGeom>
          <a:ln w="38100">
            <a:solidFill>
              <a:schemeClr val="accent6"/>
            </a:solidFill>
          </a:ln>
        </p:spPr>
        <p:txBody>
          <a:bodyPr anchor="ctr">
            <a:normAutofit/>
          </a:bodyPr>
          <a:lstStyle>
            <a:lvl1pPr marL="0" indent="0" algn="ctr">
              <a:buNone/>
              <a:defRPr sz="1500" cap="all" baseline="0">
                <a:solidFill>
                  <a:schemeClr val="accent6"/>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3</a:t>
            </a:r>
          </a:p>
        </p:txBody>
      </p:sp>
      <p:sp>
        <p:nvSpPr>
          <p:cNvPr id="35" name="Text Placeholder 17">
            <a:extLst>
              <a:ext uri="{FF2B5EF4-FFF2-40B4-BE49-F238E27FC236}">
                <a16:creationId xmlns:a16="http://schemas.microsoft.com/office/drawing/2014/main" id="{1A4D00E5-D3FF-BC23-98FB-5B61AEFB3231}"/>
              </a:ext>
            </a:extLst>
          </p:cNvPr>
          <p:cNvSpPr>
            <a:spLocks noGrp="1"/>
          </p:cNvSpPr>
          <p:nvPr>
            <p:ph type="body" sz="quarter" idx="57" hasCustomPrompt="1"/>
          </p:nvPr>
        </p:nvSpPr>
        <p:spPr>
          <a:xfrm>
            <a:off x="6393688" y="5122915"/>
            <a:ext cx="603504" cy="804672"/>
          </a:xfrm>
          <a:prstGeom prst="ellipse">
            <a:avLst/>
          </a:prstGeom>
          <a:ln w="38100">
            <a:solidFill>
              <a:schemeClr val="accent3"/>
            </a:solidFill>
          </a:ln>
        </p:spPr>
        <p:txBody>
          <a:bodyPr anchor="ctr">
            <a:normAutofit/>
          </a:bodyPr>
          <a:lstStyle>
            <a:lvl1pPr marL="0" indent="0" algn="ctr">
              <a:buNone/>
              <a:defRPr sz="1500" cap="all" baseline="0">
                <a:solidFill>
                  <a:schemeClr val="accent3"/>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Q4</a:t>
            </a:r>
          </a:p>
        </p:txBody>
      </p:sp>
      <p:sp>
        <p:nvSpPr>
          <p:cNvPr id="54" name="Text Placeholder 48">
            <a:extLst>
              <a:ext uri="{FF2B5EF4-FFF2-40B4-BE49-F238E27FC236}">
                <a16:creationId xmlns:a16="http://schemas.microsoft.com/office/drawing/2014/main" id="{58782C77-F426-4586-AF09-D07E1E8737F4}"/>
              </a:ext>
            </a:extLst>
          </p:cNvPr>
          <p:cNvSpPr>
            <a:spLocks noGrp="1"/>
          </p:cNvSpPr>
          <p:nvPr>
            <p:ph type="body" sz="quarter" idx="14" hasCustomPrompt="1"/>
          </p:nvPr>
        </p:nvSpPr>
        <p:spPr>
          <a:xfrm>
            <a:off x="7273425" y="1776098"/>
            <a:ext cx="1714500" cy="302186"/>
          </a:xfrm>
        </p:spPr>
        <p:txBody>
          <a:bodyPr>
            <a:noAutofit/>
          </a:bodyPr>
          <a:lstStyle>
            <a:lvl1pPr marL="0" indent="0">
              <a:buNone/>
              <a:defRPr sz="1350" b="1" cap="all" baseline="0">
                <a:solidFill>
                  <a:schemeClr val="accent4"/>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55" name="Text Placeholder 50">
            <a:extLst>
              <a:ext uri="{FF2B5EF4-FFF2-40B4-BE49-F238E27FC236}">
                <a16:creationId xmlns:a16="http://schemas.microsoft.com/office/drawing/2014/main" id="{E04DA729-6A59-4BC5-8955-DF4D12F1259F}"/>
              </a:ext>
            </a:extLst>
          </p:cNvPr>
          <p:cNvSpPr>
            <a:spLocks noGrp="1"/>
          </p:cNvSpPr>
          <p:nvPr>
            <p:ph type="body" sz="quarter" idx="15" hasCustomPrompt="1"/>
          </p:nvPr>
        </p:nvSpPr>
        <p:spPr>
          <a:xfrm>
            <a:off x="7273425" y="2111375"/>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60" name="Text Placeholder 48">
            <a:extLst>
              <a:ext uri="{FF2B5EF4-FFF2-40B4-BE49-F238E27FC236}">
                <a16:creationId xmlns:a16="http://schemas.microsoft.com/office/drawing/2014/main" id="{82EA5B58-66CC-4197-BAC3-D0A39558DB0F}"/>
              </a:ext>
            </a:extLst>
          </p:cNvPr>
          <p:cNvSpPr>
            <a:spLocks noGrp="1"/>
          </p:cNvSpPr>
          <p:nvPr>
            <p:ph type="body" sz="quarter" idx="20" hasCustomPrompt="1"/>
          </p:nvPr>
        </p:nvSpPr>
        <p:spPr>
          <a:xfrm>
            <a:off x="7273425" y="2914739"/>
            <a:ext cx="1714500" cy="302186"/>
          </a:xfrm>
        </p:spPr>
        <p:txBody>
          <a:bodyPr>
            <a:noAutofit/>
          </a:bodyPr>
          <a:lstStyle>
            <a:lvl1pPr marL="0" indent="0">
              <a:buNone/>
              <a:defRPr sz="1350" b="1" cap="all" baseline="0">
                <a:solidFill>
                  <a:schemeClr val="accent5"/>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61" name="Text Placeholder 50">
            <a:extLst>
              <a:ext uri="{FF2B5EF4-FFF2-40B4-BE49-F238E27FC236}">
                <a16:creationId xmlns:a16="http://schemas.microsoft.com/office/drawing/2014/main" id="{B76C47B4-A585-4CAC-933A-2E6D1938D171}"/>
              </a:ext>
            </a:extLst>
          </p:cNvPr>
          <p:cNvSpPr>
            <a:spLocks noGrp="1"/>
          </p:cNvSpPr>
          <p:nvPr>
            <p:ph type="body" sz="quarter" idx="21" hasCustomPrompt="1"/>
          </p:nvPr>
        </p:nvSpPr>
        <p:spPr>
          <a:xfrm>
            <a:off x="7273425" y="3254810"/>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66" name="Text Placeholder 48">
            <a:extLst>
              <a:ext uri="{FF2B5EF4-FFF2-40B4-BE49-F238E27FC236}">
                <a16:creationId xmlns:a16="http://schemas.microsoft.com/office/drawing/2014/main" id="{D4D4EE7B-E029-47B3-BC18-D53E810711CE}"/>
              </a:ext>
            </a:extLst>
          </p:cNvPr>
          <p:cNvSpPr>
            <a:spLocks noGrp="1"/>
          </p:cNvSpPr>
          <p:nvPr>
            <p:ph type="body" sz="quarter" idx="26" hasCustomPrompt="1"/>
          </p:nvPr>
        </p:nvSpPr>
        <p:spPr>
          <a:xfrm>
            <a:off x="7273425" y="4057987"/>
            <a:ext cx="1714500" cy="302186"/>
          </a:xfrm>
        </p:spPr>
        <p:txBody>
          <a:bodyPr>
            <a:noAutofit/>
          </a:bodyPr>
          <a:lstStyle>
            <a:lvl1pPr marL="0" indent="0">
              <a:buNone/>
              <a:defRPr sz="1350" b="1" cap="all" baseline="0">
                <a:solidFill>
                  <a:schemeClr val="accent6"/>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67" name="Text Placeholder 50">
            <a:extLst>
              <a:ext uri="{FF2B5EF4-FFF2-40B4-BE49-F238E27FC236}">
                <a16:creationId xmlns:a16="http://schemas.microsoft.com/office/drawing/2014/main" id="{C088BE45-14DC-4551-A5FC-93D0BA991882}"/>
              </a:ext>
            </a:extLst>
          </p:cNvPr>
          <p:cNvSpPr>
            <a:spLocks noGrp="1"/>
          </p:cNvSpPr>
          <p:nvPr>
            <p:ph type="body" sz="quarter" idx="27" hasCustomPrompt="1"/>
          </p:nvPr>
        </p:nvSpPr>
        <p:spPr>
          <a:xfrm>
            <a:off x="7273425" y="4392591"/>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
        <p:nvSpPr>
          <p:cNvPr id="72" name="Text Placeholder 48">
            <a:extLst>
              <a:ext uri="{FF2B5EF4-FFF2-40B4-BE49-F238E27FC236}">
                <a16:creationId xmlns:a16="http://schemas.microsoft.com/office/drawing/2014/main" id="{6F8B9E2C-BE06-4536-A348-4640A2DA1BFC}"/>
              </a:ext>
            </a:extLst>
          </p:cNvPr>
          <p:cNvSpPr>
            <a:spLocks noGrp="1"/>
          </p:cNvSpPr>
          <p:nvPr>
            <p:ph type="body" sz="quarter" idx="32" hasCustomPrompt="1"/>
          </p:nvPr>
        </p:nvSpPr>
        <p:spPr>
          <a:xfrm>
            <a:off x="7273425" y="5231920"/>
            <a:ext cx="1714500" cy="302186"/>
          </a:xfrm>
        </p:spPr>
        <p:txBody>
          <a:bodyPr>
            <a:noAutofit/>
          </a:bodyPr>
          <a:lstStyle>
            <a:lvl1pPr marL="0" indent="0">
              <a:buNone/>
              <a:defRPr sz="1350" b="1" cap="all" baseline="0">
                <a:solidFill>
                  <a:schemeClr val="accent3"/>
                </a:solidFill>
                <a:latin typeface="+mj-lt"/>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dirty="0"/>
              <a:t>add text</a:t>
            </a:r>
          </a:p>
        </p:txBody>
      </p:sp>
      <p:sp>
        <p:nvSpPr>
          <p:cNvPr id="73" name="Text Placeholder 50">
            <a:extLst>
              <a:ext uri="{FF2B5EF4-FFF2-40B4-BE49-F238E27FC236}">
                <a16:creationId xmlns:a16="http://schemas.microsoft.com/office/drawing/2014/main" id="{B9A57CE7-FAE2-490F-A8F8-402B5F3A7443}"/>
              </a:ext>
            </a:extLst>
          </p:cNvPr>
          <p:cNvSpPr>
            <a:spLocks noGrp="1"/>
          </p:cNvSpPr>
          <p:nvPr>
            <p:ph type="body" sz="quarter" idx="33" hasCustomPrompt="1"/>
          </p:nvPr>
        </p:nvSpPr>
        <p:spPr>
          <a:xfrm>
            <a:off x="7273425" y="5566524"/>
            <a:ext cx="1714500" cy="706438"/>
          </a:xfrm>
        </p:spPr>
        <p:txBody>
          <a:bodyPr wrap="square">
            <a:noAutofit/>
          </a:bodyPr>
          <a:lstStyle>
            <a:lvl1pPr marL="0" indent="0">
              <a:lnSpc>
                <a:spcPct val="100000"/>
              </a:lnSpc>
              <a:buNone/>
              <a:defRPr sz="825">
                <a:solidFill>
                  <a:schemeClr val="tx1"/>
                </a:solidFill>
              </a:defRPr>
            </a:lvl1pPr>
            <a:lvl2pPr marL="342900" indent="0">
              <a:buNone/>
              <a:defRPr sz="825"/>
            </a:lvl2pPr>
            <a:lvl3pPr marL="685800" indent="0">
              <a:buNone/>
              <a:defRPr sz="825"/>
            </a:lvl3pPr>
            <a:lvl4pPr marL="1028700" indent="0">
              <a:buNone/>
              <a:defRPr sz="825"/>
            </a:lvl4pPr>
            <a:lvl5pPr marL="1371600" indent="0">
              <a:buNone/>
              <a:defRPr sz="825"/>
            </a:lvl5pPr>
          </a:lstStyle>
          <a:p>
            <a:pPr lvl="0"/>
            <a:r>
              <a:rPr lang="en-US" dirty="0"/>
              <a:t>Click to add text</a:t>
            </a:r>
          </a:p>
        </p:txBody>
      </p:sp>
    </p:spTree>
    <p:extLst>
      <p:ext uri="{BB962C8B-B14F-4D97-AF65-F5344CB8AC3E}">
        <p14:creationId xmlns:p14="http://schemas.microsoft.com/office/powerpoint/2010/main" val="3072499665"/>
      </p:ext>
    </p:extLst>
  </p:cSld>
  <p:clrMapOvr>
    <a:masterClrMapping/>
  </p:clrMapOvr>
  <p:extLst>
    <p:ext uri="{DCECCB84-F9BA-43D5-87BE-67443E8EF086}">
      <p15:sldGuideLst xmlns:p15="http://schemas.microsoft.com/office/powerpoint/2012/main">
        <p15:guide id="1" pos="2544">
          <p15:clr>
            <a:srgbClr val="FBAE40"/>
          </p15:clr>
        </p15:guide>
        <p15:guide id="2" pos="5112">
          <p15:clr>
            <a:srgbClr val="FBAE40"/>
          </p15:clr>
        </p15:guide>
        <p15:guide id="4" pos="5256">
          <p15:clr>
            <a:srgbClr val="5ACBF0"/>
          </p15:clr>
        </p15:guide>
        <p15:guide id="5" pos="4968">
          <p15:clr>
            <a:srgbClr val="5ACBF0"/>
          </p15:clr>
        </p15:guide>
        <p15:guide id="6" pos="2688">
          <p15:clr>
            <a:srgbClr val="5ACBF0"/>
          </p15:clr>
        </p15:guide>
        <p15:guide id="7" pos="2400">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ver-Dark-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16A2AD60-FBF7-0141-B754-298F96552E57}"/>
              </a:ext>
            </a:extLst>
          </p:cNvPr>
          <p:cNvSpPr>
            <a:spLocks noGrp="1"/>
          </p:cNvSpPr>
          <p:nvPr>
            <p:ph type="body" sz="quarter" idx="10" hasCustomPrompt="1"/>
          </p:nvPr>
        </p:nvSpPr>
        <p:spPr>
          <a:xfrm>
            <a:off x="488092" y="1079498"/>
            <a:ext cx="5538662" cy="1306512"/>
          </a:xfrm>
          <a:prstGeom prst="rect">
            <a:avLst/>
          </a:prstGeom>
        </p:spPr>
        <p:txBody>
          <a:bodyPr/>
          <a:lstStyle>
            <a:lvl1pPr>
              <a:lnSpc>
                <a:spcPct val="90000"/>
              </a:lnSpc>
              <a:defRPr sz="3300" b="1" i="0">
                <a:solidFill>
                  <a:schemeClr val="bg1"/>
                </a:solidFill>
                <a:latin typeface="Montserrat SemiBold" pitchFamily="2" charset="77"/>
              </a:defRPr>
            </a:lvl1pPr>
            <a:lvl2pPr>
              <a:defRPr sz="3300" b="1" i="0">
                <a:solidFill>
                  <a:schemeClr val="bg1"/>
                </a:solidFill>
                <a:latin typeface="Montserrat SemiBold" pitchFamily="2" charset="77"/>
              </a:defRPr>
            </a:lvl2pPr>
            <a:lvl3pPr>
              <a:defRPr sz="3300" b="1" i="0">
                <a:solidFill>
                  <a:schemeClr val="bg1"/>
                </a:solidFill>
                <a:latin typeface="Montserrat SemiBold" pitchFamily="2" charset="77"/>
              </a:defRPr>
            </a:lvl3pPr>
            <a:lvl4pPr>
              <a:defRPr sz="3300" b="1" i="0">
                <a:solidFill>
                  <a:schemeClr val="bg1"/>
                </a:solidFill>
                <a:latin typeface="Montserrat SemiBold" pitchFamily="2" charset="77"/>
              </a:defRPr>
            </a:lvl4pPr>
            <a:lvl5pPr>
              <a:defRPr sz="3300" b="1" i="0">
                <a:solidFill>
                  <a:schemeClr val="bg1"/>
                </a:solidFill>
                <a:latin typeface="Montserrat SemiBold" pitchFamily="2" charset="77"/>
              </a:defRPr>
            </a:lvl5pPr>
          </a:lstStyle>
          <a:p>
            <a:pPr lvl="0"/>
            <a:r>
              <a:rPr lang="en-US" dirty="0"/>
              <a:t>Observe the Evolution of Quantum Capacity</a:t>
            </a:r>
          </a:p>
        </p:txBody>
      </p:sp>
      <p:sp>
        <p:nvSpPr>
          <p:cNvPr id="4" name="Text Placeholder 12">
            <a:extLst>
              <a:ext uri="{FF2B5EF4-FFF2-40B4-BE49-F238E27FC236}">
                <a16:creationId xmlns:a16="http://schemas.microsoft.com/office/drawing/2014/main" id="{EFB7CB0B-4C15-E841-ADBA-22D9D4294576}"/>
              </a:ext>
            </a:extLst>
          </p:cNvPr>
          <p:cNvSpPr>
            <a:spLocks noGrp="1"/>
          </p:cNvSpPr>
          <p:nvPr>
            <p:ph type="body" sz="quarter" idx="11" hasCustomPrompt="1"/>
          </p:nvPr>
        </p:nvSpPr>
        <p:spPr>
          <a:xfrm>
            <a:off x="488093" y="2482057"/>
            <a:ext cx="4277162" cy="1893887"/>
          </a:xfrm>
          <a:prstGeom prst="rect">
            <a:avLst/>
          </a:prstGeom>
        </p:spPr>
        <p:txBody>
          <a:bodyPr/>
          <a:lstStyle>
            <a:lvl1pPr>
              <a:lnSpc>
                <a:spcPct val="100000"/>
              </a:lnSpc>
              <a:defRPr sz="1800" b="0" i="0">
                <a:solidFill>
                  <a:schemeClr val="bg1"/>
                </a:solidFill>
                <a:latin typeface="Exo" panose="02000503000000000000" pitchFamily="2" charset="77"/>
              </a:defRPr>
            </a:lvl1pPr>
            <a:lvl2pPr>
              <a:defRPr sz="2250" b="0" i="0">
                <a:solidFill>
                  <a:schemeClr val="bg1"/>
                </a:solidFill>
                <a:latin typeface="Exo Light" pitchFamily="2" charset="77"/>
              </a:defRPr>
            </a:lvl2pPr>
            <a:lvl3pPr>
              <a:defRPr sz="2250" b="0" i="0">
                <a:solidFill>
                  <a:schemeClr val="bg1"/>
                </a:solidFill>
                <a:latin typeface="Exo Light" pitchFamily="2" charset="77"/>
              </a:defRPr>
            </a:lvl3pPr>
            <a:lvl4pPr>
              <a:defRPr sz="2250" b="0" i="0">
                <a:solidFill>
                  <a:schemeClr val="bg1"/>
                </a:solidFill>
                <a:latin typeface="Exo Light" pitchFamily="2" charset="77"/>
              </a:defRPr>
            </a:lvl4pPr>
            <a:lvl5pPr>
              <a:defRPr sz="2250" b="0" i="0">
                <a:solidFill>
                  <a:schemeClr val="bg1"/>
                </a:solidFill>
                <a:latin typeface="Exo Light" pitchFamily="2" charset="77"/>
              </a:defRPr>
            </a:lvl5pPr>
          </a:lstStyle>
          <a:p>
            <a:pPr lvl="0"/>
            <a:r>
              <a:rPr lang="en-US"/>
              <a:t>Keep track of a transformational technology as it evolves.</a:t>
            </a:r>
          </a:p>
        </p:txBody>
      </p:sp>
    </p:spTree>
    <p:extLst>
      <p:ext uri="{BB962C8B-B14F-4D97-AF65-F5344CB8AC3E}">
        <p14:creationId xmlns:p14="http://schemas.microsoft.com/office/powerpoint/2010/main" val="493419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nalysts Perspec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DDE57-4E30-2343-9DAE-39F3DBBD9B61}"/>
              </a:ext>
            </a:extLst>
          </p:cNvPr>
          <p:cNvSpPr>
            <a:spLocks noGrp="1"/>
          </p:cNvSpPr>
          <p:nvPr>
            <p:ph type="title"/>
          </p:nvPr>
        </p:nvSpPr>
        <p:spPr>
          <a:xfrm>
            <a:off x="265545" y="530021"/>
            <a:ext cx="7303463" cy="1130188"/>
          </a:xfrm>
        </p:spPr>
        <p:txBody>
          <a:bodyPr>
            <a:noAutofit/>
          </a:bodyPr>
          <a:lstStyle>
            <a:lvl1pPr>
              <a:defRPr b="0" i="0">
                <a:solidFill>
                  <a:srgbClr val="4A4A4A"/>
                </a:solidFill>
                <a:latin typeface="Roboto Condensed Light" panose="02000000000000000000" pitchFamily="2" charset="0"/>
              </a:defRPr>
            </a:lvl1pPr>
          </a:lstStyle>
          <a:p>
            <a:r>
              <a:rPr lang="en-US" dirty="0"/>
              <a:t>Click to edit Master title style</a:t>
            </a:r>
          </a:p>
        </p:txBody>
      </p:sp>
      <p:sp>
        <p:nvSpPr>
          <p:cNvPr id="4" name="Text Placeholder 11">
            <a:extLst>
              <a:ext uri="{FF2B5EF4-FFF2-40B4-BE49-F238E27FC236}">
                <a16:creationId xmlns:a16="http://schemas.microsoft.com/office/drawing/2014/main" id="{04E9795F-CBFB-B94E-B0A4-612B5868B666}"/>
              </a:ext>
            </a:extLst>
          </p:cNvPr>
          <p:cNvSpPr>
            <a:spLocks noGrp="1"/>
          </p:cNvSpPr>
          <p:nvPr>
            <p:ph type="body" sz="quarter" idx="11"/>
          </p:nvPr>
        </p:nvSpPr>
        <p:spPr>
          <a:xfrm>
            <a:off x="275707" y="1667939"/>
            <a:ext cx="3409988" cy="770461"/>
          </a:xfrm>
          <a:prstGeom prst="rect">
            <a:avLst/>
          </a:prstGeom>
        </p:spPr>
        <p:txBody>
          <a:bodyPr lIns="0" tIns="0" rIns="0" bIns="0">
            <a:noAutofit/>
          </a:bodyPr>
          <a:lstStyle>
            <a:lvl1pPr marL="0" indent="0">
              <a:lnSpc>
                <a:spcPct val="110000"/>
              </a:lnSpc>
              <a:buNone/>
              <a:defRPr sz="1500" b="0" i="0" spc="0">
                <a:solidFill>
                  <a:srgbClr val="4A4A4A"/>
                </a:solidFill>
                <a:latin typeface="Montserrat Medium" pitchFamily="2" charset="77"/>
                <a:cs typeface="Arial" panose="020B0604020202020204" pitchFamily="34" charset="0"/>
              </a:defRPr>
            </a:lvl1pPr>
            <a:lvl2pPr marL="342854" indent="0">
              <a:lnSpc>
                <a:spcPts val="1800"/>
              </a:lnSpc>
              <a:buNone/>
              <a:defRPr sz="1500">
                <a:solidFill>
                  <a:srgbClr val="848585"/>
                </a:solidFill>
                <a:latin typeface="Arial" panose="020B0604020202020204" pitchFamily="34" charset="0"/>
                <a:cs typeface="Arial" panose="020B0604020202020204" pitchFamily="34" charset="0"/>
              </a:defRPr>
            </a:lvl2pPr>
            <a:lvl3pPr marL="685709" indent="0">
              <a:lnSpc>
                <a:spcPts val="1800"/>
              </a:lnSpc>
              <a:buNone/>
              <a:defRPr sz="1500">
                <a:solidFill>
                  <a:srgbClr val="848585"/>
                </a:solidFill>
                <a:latin typeface="Arial" panose="020B0604020202020204" pitchFamily="34" charset="0"/>
                <a:cs typeface="Arial" panose="020B0604020202020204" pitchFamily="34" charset="0"/>
              </a:defRPr>
            </a:lvl3pPr>
            <a:lvl4pPr marL="1028563" indent="0">
              <a:lnSpc>
                <a:spcPts val="1800"/>
              </a:lnSpc>
              <a:buNone/>
              <a:defRPr sz="1500">
                <a:solidFill>
                  <a:srgbClr val="848585"/>
                </a:solidFill>
                <a:latin typeface="Arial" panose="020B0604020202020204" pitchFamily="34" charset="0"/>
                <a:cs typeface="Arial" panose="020B0604020202020204" pitchFamily="34" charset="0"/>
              </a:defRPr>
            </a:lvl4pPr>
            <a:lvl5pPr marL="1371417"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6" name="Text Placeholder 17">
            <a:extLst>
              <a:ext uri="{FF2B5EF4-FFF2-40B4-BE49-F238E27FC236}">
                <a16:creationId xmlns:a16="http://schemas.microsoft.com/office/drawing/2014/main" id="{191A5D26-F935-C243-B55A-263E1DDC326D}"/>
              </a:ext>
            </a:extLst>
          </p:cNvPr>
          <p:cNvSpPr>
            <a:spLocks noGrp="1"/>
          </p:cNvSpPr>
          <p:nvPr>
            <p:ph type="body" sz="quarter" idx="13"/>
          </p:nvPr>
        </p:nvSpPr>
        <p:spPr>
          <a:xfrm>
            <a:off x="3928173" y="5120360"/>
            <a:ext cx="2129750" cy="1269682"/>
          </a:xfrm>
          <a:prstGeom prst="rect">
            <a:avLst/>
          </a:prstGeom>
        </p:spPr>
        <p:txBody>
          <a:bodyPr lIns="0" tIns="0" rIns="0" bIns="0">
            <a:noAutofit/>
          </a:bodyPr>
          <a:lstStyle>
            <a:lvl1pPr marL="0" indent="0">
              <a:lnSpc>
                <a:spcPct val="110000"/>
              </a:lnSpc>
              <a:spcBef>
                <a:spcPts val="0"/>
              </a:spcBef>
              <a:buNone/>
              <a:defRPr sz="900" b="0" i="0">
                <a:solidFill>
                  <a:srgbClr val="2576B7"/>
                </a:solidFill>
                <a:latin typeface="Montserrat SemiBold" pitchFamily="2" charset="77"/>
                <a:cs typeface="Arial" panose="020B0604020202020204" pitchFamily="34" charset="0"/>
              </a:defRPr>
            </a:lvl1pPr>
            <a:lvl2pPr marL="342854" indent="0">
              <a:lnSpc>
                <a:spcPct val="110000"/>
              </a:lnSpc>
              <a:spcBef>
                <a:spcPts val="0"/>
              </a:spcBef>
              <a:buNone/>
              <a:defRPr sz="900" b="0" i="0">
                <a:solidFill>
                  <a:srgbClr val="2576B7"/>
                </a:solidFill>
                <a:latin typeface="Montserrat Medium" pitchFamily="2" charset="77"/>
                <a:cs typeface="Arial" panose="020B0604020202020204" pitchFamily="34" charset="0"/>
              </a:defRPr>
            </a:lvl2pPr>
            <a:lvl3pPr marL="685709" indent="0">
              <a:lnSpc>
                <a:spcPct val="110000"/>
              </a:lnSpc>
              <a:spcBef>
                <a:spcPts val="0"/>
              </a:spcBef>
              <a:buNone/>
              <a:defRPr sz="900" b="0" i="0">
                <a:solidFill>
                  <a:srgbClr val="2576B7"/>
                </a:solidFill>
                <a:latin typeface="Montserrat Medium" pitchFamily="2" charset="77"/>
                <a:cs typeface="Arial" panose="020B0604020202020204" pitchFamily="34" charset="0"/>
              </a:defRPr>
            </a:lvl3pPr>
            <a:lvl4pPr marL="1028563" indent="0">
              <a:lnSpc>
                <a:spcPct val="110000"/>
              </a:lnSpc>
              <a:spcBef>
                <a:spcPts val="0"/>
              </a:spcBef>
              <a:buNone/>
              <a:defRPr sz="900" b="0" i="0">
                <a:solidFill>
                  <a:srgbClr val="2576B7"/>
                </a:solidFill>
                <a:latin typeface="Montserrat Medium" pitchFamily="2" charset="77"/>
                <a:cs typeface="Arial" panose="020B0604020202020204" pitchFamily="34" charset="0"/>
              </a:defRPr>
            </a:lvl4pPr>
            <a:lvl5pPr marL="1371417" indent="0">
              <a:lnSpc>
                <a:spcPct val="110000"/>
              </a:lnSpc>
              <a:spcBef>
                <a:spcPts val="0"/>
              </a:spcBef>
              <a:buNone/>
              <a:defRPr sz="900" b="0" i="0">
                <a:solidFill>
                  <a:srgbClr val="2576B7"/>
                </a:solidFill>
                <a:latin typeface="Montserrat Medium" pitchFamily="2" charset="77"/>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127F9FF2-D4F4-2F42-9C38-CF0156BDA8A6}"/>
              </a:ext>
            </a:extLst>
          </p:cNvPr>
          <p:cNvSpPr>
            <a:spLocks noGrp="1"/>
          </p:cNvSpPr>
          <p:nvPr>
            <p:ph type="body" sz="quarter" idx="14"/>
          </p:nvPr>
        </p:nvSpPr>
        <p:spPr>
          <a:xfrm>
            <a:off x="3931952" y="1753405"/>
            <a:ext cx="4995212" cy="4218417"/>
          </a:xfrm>
          <a:prstGeom prst="rect">
            <a:avLst/>
          </a:prstGeom>
        </p:spPr>
        <p:txBody>
          <a:bodyPr lIns="0" tIns="0" rIns="0" bIns="0"/>
          <a:lstStyle>
            <a:lvl1pPr marL="134523" indent="-134523">
              <a:lnSpc>
                <a:spcPct val="110000"/>
              </a:lnSpc>
              <a:spcBef>
                <a:spcPts val="0"/>
              </a:spcBef>
              <a:spcAft>
                <a:spcPts val="600"/>
              </a:spcAft>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spcBef>
                <a:spcPts val="0"/>
              </a:spcBef>
              <a:spcAft>
                <a:spcPts val="600"/>
              </a:spcAft>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spcBef>
                <a:spcPts val="0"/>
              </a:spcBef>
              <a:spcAft>
                <a:spcPts val="600"/>
              </a:spcAft>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spcBef>
                <a:spcPts val="0"/>
              </a:spcBef>
              <a:spcAft>
                <a:spcPts val="600"/>
              </a:spcAft>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spcBef>
                <a:spcPts val="0"/>
              </a:spcBef>
              <a:spcAft>
                <a:spcPts val="600"/>
              </a:spcAft>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190100"/>
      </p:ext>
    </p:extLst>
  </p:cSld>
  <p:clrMapOvr>
    <a:masterClrMapping/>
  </p:clrMapOvr>
  <p:extLst>
    <p:ext uri="{DCECCB84-F9BA-43D5-87BE-67443E8EF086}">
      <p15:sldGuideLst xmlns:p15="http://schemas.microsoft.com/office/powerpoint/2012/main">
        <p15:guide id="1" orient="horz" pos="138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ExecSummary-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DDE57-4E30-2343-9DAE-39F3DBBD9B61}"/>
              </a:ext>
            </a:extLst>
          </p:cNvPr>
          <p:cNvSpPr>
            <a:spLocks noGrp="1"/>
          </p:cNvSpPr>
          <p:nvPr>
            <p:ph type="title"/>
          </p:nvPr>
        </p:nvSpPr>
        <p:spPr>
          <a:xfrm>
            <a:off x="265545" y="530021"/>
            <a:ext cx="8414338" cy="1163598"/>
          </a:xfrm>
        </p:spPr>
        <p:txBody>
          <a:bodyPr>
            <a:noAutofit/>
          </a:bodyPr>
          <a:lstStyle>
            <a:lvl1pPr>
              <a:lnSpc>
                <a:spcPct val="90000"/>
              </a:lnSpc>
              <a:defRPr b="0" i="0">
                <a:solidFill>
                  <a:srgbClr val="4A4A4A"/>
                </a:solidFill>
                <a:latin typeface="Roboto Condensed Light" panose="02000000000000000000" pitchFamily="2" charset="0"/>
              </a:defRPr>
            </a:lvl1pPr>
          </a:lstStyle>
          <a:p>
            <a:r>
              <a:rPr lang="en-US" dirty="0"/>
              <a:t>Click to edit Master title style</a:t>
            </a:r>
          </a:p>
        </p:txBody>
      </p:sp>
      <p:sp>
        <p:nvSpPr>
          <p:cNvPr id="13" name="Text Placeholder 12">
            <a:extLst>
              <a:ext uri="{FF2B5EF4-FFF2-40B4-BE49-F238E27FC236}">
                <a16:creationId xmlns:a16="http://schemas.microsoft.com/office/drawing/2014/main" id="{A5895281-F05F-284A-93B8-DF31D5A43342}"/>
              </a:ext>
            </a:extLst>
          </p:cNvPr>
          <p:cNvSpPr>
            <a:spLocks noGrp="1"/>
          </p:cNvSpPr>
          <p:nvPr>
            <p:ph type="body" sz="quarter" idx="13"/>
          </p:nvPr>
        </p:nvSpPr>
        <p:spPr>
          <a:xfrm>
            <a:off x="276110" y="1597967"/>
            <a:ext cx="2656454" cy="297314"/>
          </a:xfrm>
          <a:prstGeom prst="rect">
            <a:avLst/>
          </a:prstGeom>
        </p:spPr>
        <p:txBody>
          <a:bodyPr lIns="0" tIns="0" rIns="0" bIns="0">
            <a:noAutofit/>
          </a:bodyPr>
          <a:lstStyle>
            <a:lvl1pPr marL="0" indent="0" algn="l">
              <a:lnSpc>
                <a:spcPct val="90000"/>
              </a:lnSpc>
              <a:buNone/>
              <a:defRPr sz="1350" b="0" i="0">
                <a:solidFill>
                  <a:srgbClr val="B3252E"/>
                </a:solidFill>
                <a:latin typeface="Exo" panose="02000503000000000000" pitchFamily="2" charset="77"/>
                <a:cs typeface="Arial" panose="020B0604020202020204" pitchFamily="34" charset="0"/>
              </a:defRPr>
            </a:lvl1pPr>
            <a:lvl2pPr marL="342854" indent="0">
              <a:buNone/>
              <a:defRPr/>
            </a:lvl2pPr>
            <a:lvl3pPr marL="685709" indent="0">
              <a:buNone/>
              <a:defRPr/>
            </a:lvl3pPr>
            <a:lvl4pPr marL="1028563" indent="0">
              <a:buNone/>
              <a:defRPr/>
            </a:lvl4pPr>
            <a:lvl5pPr marL="1371417" indent="0">
              <a:buNone/>
              <a:defRPr/>
            </a:lvl5pPr>
          </a:lstStyle>
          <a:p>
            <a:pPr lvl="0"/>
            <a:r>
              <a:rPr lang="en-US" dirty="0"/>
              <a:t>Click to edit Master text styles</a:t>
            </a:r>
          </a:p>
        </p:txBody>
      </p:sp>
      <p:sp>
        <p:nvSpPr>
          <p:cNvPr id="26" name="Text Placeholder 12">
            <a:extLst>
              <a:ext uri="{FF2B5EF4-FFF2-40B4-BE49-F238E27FC236}">
                <a16:creationId xmlns:a16="http://schemas.microsoft.com/office/drawing/2014/main" id="{9BDD2CC1-5E1E-A249-A7A5-AE4A1333D147}"/>
              </a:ext>
            </a:extLst>
          </p:cNvPr>
          <p:cNvSpPr>
            <a:spLocks noGrp="1"/>
          </p:cNvSpPr>
          <p:nvPr>
            <p:ph type="body" sz="quarter" idx="15"/>
          </p:nvPr>
        </p:nvSpPr>
        <p:spPr>
          <a:xfrm>
            <a:off x="3200579" y="1597967"/>
            <a:ext cx="2656454" cy="297314"/>
          </a:xfrm>
          <a:prstGeom prst="rect">
            <a:avLst/>
          </a:prstGeom>
        </p:spPr>
        <p:txBody>
          <a:bodyPr lIns="0" tIns="0" rIns="0" bIns="0">
            <a:noAutofit/>
          </a:bodyPr>
          <a:lstStyle>
            <a:lvl1pPr marL="0" indent="0" algn="l">
              <a:lnSpc>
                <a:spcPct val="90000"/>
              </a:lnSpc>
              <a:buNone/>
              <a:defRPr sz="1350" b="0" i="0">
                <a:solidFill>
                  <a:srgbClr val="F17A26"/>
                </a:solidFill>
                <a:latin typeface="Exo" panose="02000503000000000000" pitchFamily="2" charset="77"/>
                <a:cs typeface="Arial" panose="020B0604020202020204" pitchFamily="34" charset="0"/>
              </a:defRPr>
            </a:lvl1pPr>
            <a:lvl2pPr marL="342854" indent="0">
              <a:buNone/>
              <a:defRPr/>
            </a:lvl2pPr>
            <a:lvl3pPr marL="685709" indent="0">
              <a:buNone/>
              <a:defRPr/>
            </a:lvl3pPr>
            <a:lvl4pPr marL="1028563" indent="0">
              <a:buNone/>
              <a:defRPr/>
            </a:lvl4pPr>
            <a:lvl5pPr marL="1371417" indent="0">
              <a:buNone/>
              <a:defRPr/>
            </a:lvl5pPr>
          </a:lstStyle>
          <a:p>
            <a:pPr lvl="0"/>
            <a:r>
              <a:rPr lang="en-US"/>
              <a:t>Click to edit Master text styles</a:t>
            </a:r>
          </a:p>
        </p:txBody>
      </p:sp>
      <p:sp>
        <p:nvSpPr>
          <p:cNvPr id="28" name="Text Placeholder 12">
            <a:extLst>
              <a:ext uri="{FF2B5EF4-FFF2-40B4-BE49-F238E27FC236}">
                <a16:creationId xmlns:a16="http://schemas.microsoft.com/office/drawing/2014/main" id="{DE52E9E9-EF0F-F148-B77C-A1985515528A}"/>
              </a:ext>
            </a:extLst>
          </p:cNvPr>
          <p:cNvSpPr>
            <a:spLocks noGrp="1"/>
          </p:cNvSpPr>
          <p:nvPr>
            <p:ph type="body" sz="quarter" idx="17"/>
          </p:nvPr>
        </p:nvSpPr>
        <p:spPr>
          <a:xfrm>
            <a:off x="6097267" y="1597967"/>
            <a:ext cx="2656454" cy="297314"/>
          </a:xfrm>
          <a:prstGeom prst="rect">
            <a:avLst/>
          </a:prstGeom>
        </p:spPr>
        <p:txBody>
          <a:bodyPr lIns="0" tIns="0" rIns="0" bIns="0">
            <a:noAutofit/>
          </a:bodyPr>
          <a:lstStyle>
            <a:lvl1pPr marL="0" indent="0" algn="l">
              <a:lnSpc>
                <a:spcPct val="90000"/>
              </a:lnSpc>
              <a:buNone/>
              <a:defRPr sz="1350" b="0" i="0">
                <a:solidFill>
                  <a:srgbClr val="2B9E48"/>
                </a:solidFill>
                <a:latin typeface="Exo" panose="02000503000000000000" pitchFamily="2" charset="77"/>
                <a:cs typeface="Arial" panose="020B0604020202020204" pitchFamily="34" charset="0"/>
              </a:defRPr>
            </a:lvl1pPr>
            <a:lvl2pPr marL="342854" indent="0">
              <a:buNone/>
              <a:defRPr/>
            </a:lvl2pPr>
            <a:lvl3pPr marL="685709" indent="0">
              <a:buNone/>
              <a:defRPr/>
            </a:lvl3pPr>
            <a:lvl4pPr marL="1028563" indent="0">
              <a:buNone/>
              <a:defRPr/>
            </a:lvl4pPr>
            <a:lvl5pPr marL="1371417" indent="0">
              <a:buNone/>
              <a:defRPr/>
            </a:lvl5pPr>
          </a:lstStyle>
          <a:p>
            <a:pPr lvl="0"/>
            <a:r>
              <a:rPr lang="en-US"/>
              <a:t>Click to edit Master text styles</a:t>
            </a:r>
          </a:p>
        </p:txBody>
      </p:sp>
      <p:sp>
        <p:nvSpPr>
          <p:cNvPr id="17" name="Text Placeholder 4">
            <a:extLst>
              <a:ext uri="{FF2B5EF4-FFF2-40B4-BE49-F238E27FC236}">
                <a16:creationId xmlns:a16="http://schemas.microsoft.com/office/drawing/2014/main" id="{FA4AA16A-AF07-4A4A-AA0D-C83BCCC518CB}"/>
              </a:ext>
            </a:extLst>
          </p:cNvPr>
          <p:cNvSpPr>
            <a:spLocks noGrp="1"/>
          </p:cNvSpPr>
          <p:nvPr>
            <p:ph type="body" sz="quarter" idx="18"/>
          </p:nvPr>
        </p:nvSpPr>
        <p:spPr>
          <a:xfrm>
            <a:off x="278571" y="1991757"/>
            <a:ext cx="2743341" cy="3190736"/>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4">
            <a:extLst>
              <a:ext uri="{FF2B5EF4-FFF2-40B4-BE49-F238E27FC236}">
                <a16:creationId xmlns:a16="http://schemas.microsoft.com/office/drawing/2014/main" id="{478D611E-AB20-6F4F-AAF0-75575E9D6DB6}"/>
              </a:ext>
            </a:extLst>
          </p:cNvPr>
          <p:cNvSpPr>
            <a:spLocks noGrp="1"/>
          </p:cNvSpPr>
          <p:nvPr>
            <p:ph type="body" sz="quarter" idx="19"/>
          </p:nvPr>
        </p:nvSpPr>
        <p:spPr>
          <a:xfrm>
            <a:off x="3200579" y="1991757"/>
            <a:ext cx="2743341" cy="3190736"/>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37BEB711-C86D-6A42-AF2D-7578AE11B32E}"/>
              </a:ext>
            </a:extLst>
          </p:cNvPr>
          <p:cNvSpPr>
            <a:spLocks noGrp="1"/>
          </p:cNvSpPr>
          <p:nvPr>
            <p:ph type="body" sz="quarter" idx="20"/>
          </p:nvPr>
        </p:nvSpPr>
        <p:spPr>
          <a:xfrm>
            <a:off x="6114850" y="1991757"/>
            <a:ext cx="2743341" cy="3190736"/>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1698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Content Slide-graySidebar-thin">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280530" y="1648758"/>
            <a:ext cx="4264685" cy="456696"/>
          </a:xfrm>
          <a:prstGeom prst="rect">
            <a:avLst/>
          </a:prstGeom>
        </p:spPr>
        <p:txBody>
          <a:bodyPr lIns="0" tIns="0" rIns="0" bIns="0">
            <a:noAutofit/>
          </a:bodyPr>
          <a:lstStyle>
            <a:lvl1pPr marL="0" indent="0">
              <a:lnSpc>
                <a:spcPct val="110000"/>
              </a:lnSpc>
              <a:buNone/>
              <a:defRPr sz="1500" b="0" i="0">
                <a:solidFill>
                  <a:srgbClr val="4A4A4A"/>
                </a:solidFill>
                <a:latin typeface="Montserrat SemiBold" pitchFamily="2" charset="77"/>
                <a:cs typeface="Arial" panose="020B0604020202020204" pitchFamily="34" charset="0"/>
              </a:defRPr>
            </a:lvl1pPr>
            <a:lvl2pPr marL="342854" indent="0">
              <a:lnSpc>
                <a:spcPts val="1800"/>
              </a:lnSpc>
              <a:buNone/>
              <a:defRPr sz="1500">
                <a:solidFill>
                  <a:srgbClr val="848585"/>
                </a:solidFill>
                <a:latin typeface="Arial" panose="020B0604020202020204" pitchFamily="34" charset="0"/>
                <a:cs typeface="Arial" panose="020B0604020202020204" pitchFamily="34" charset="0"/>
              </a:defRPr>
            </a:lvl2pPr>
            <a:lvl3pPr marL="685709" indent="0">
              <a:lnSpc>
                <a:spcPts val="1800"/>
              </a:lnSpc>
              <a:buNone/>
              <a:defRPr sz="1500">
                <a:solidFill>
                  <a:srgbClr val="848585"/>
                </a:solidFill>
                <a:latin typeface="Arial" panose="020B0604020202020204" pitchFamily="34" charset="0"/>
                <a:cs typeface="Arial" panose="020B0604020202020204" pitchFamily="34" charset="0"/>
              </a:defRPr>
            </a:lvl3pPr>
            <a:lvl4pPr marL="1028563" indent="0">
              <a:lnSpc>
                <a:spcPts val="1800"/>
              </a:lnSpc>
              <a:buNone/>
              <a:defRPr sz="1500">
                <a:solidFill>
                  <a:srgbClr val="848585"/>
                </a:solidFill>
                <a:latin typeface="Arial" panose="020B0604020202020204" pitchFamily="34" charset="0"/>
                <a:cs typeface="Arial" panose="020B0604020202020204" pitchFamily="34" charset="0"/>
              </a:defRPr>
            </a:lvl4pPr>
            <a:lvl5pPr marL="1371417"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7" name="Text Placeholder 17">
            <a:extLst>
              <a:ext uri="{FF2B5EF4-FFF2-40B4-BE49-F238E27FC236}">
                <a16:creationId xmlns:a16="http://schemas.microsoft.com/office/drawing/2014/main" id="{BC346A8C-5C1D-114F-94D6-BBB1ED290669}"/>
              </a:ext>
            </a:extLst>
          </p:cNvPr>
          <p:cNvSpPr>
            <a:spLocks noGrp="1"/>
          </p:cNvSpPr>
          <p:nvPr>
            <p:ph type="body" sz="quarter" idx="13"/>
          </p:nvPr>
        </p:nvSpPr>
        <p:spPr>
          <a:xfrm>
            <a:off x="287856" y="2035250"/>
            <a:ext cx="4257358" cy="473616"/>
          </a:xfrm>
          <a:prstGeom prst="rect">
            <a:avLst/>
          </a:prstGeom>
        </p:spPr>
        <p:txBody>
          <a:bodyPr lIns="0" tIns="0" rIns="0" bIns="0">
            <a:noAutofit/>
          </a:bodyPr>
          <a:lstStyle>
            <a:lvl1pPr marL="0" indent="0">
              <a:lnSpc>
                <a:spcPct val="110000"/>
              </a:lnSpc>
              <a:buNone/>
              <a:defRPr sz="1200" b="0" i="0">
                <a:solidFill>
                  <a:srgbClr val="2576B7"/>
                </a:solidFill>
                <a:latin typeface="Exo" panose="02000503000000000000" pitchFamily="2" charset="77"/>
                <a:cs typeface="Arial" panose="020B0604020202020204" pitchFamily="34" charset="0"/>
              </a:defRPr>
            </a:lvl1pPr>
            <a:lvl2pPr marL="342854" indent="0">
              <a:lnSpc>
                <a:spcPts val="1050"/>
              </a:lnSpc>
              <a:buNone/>
              <a:defRPr sz="1050">
                <a:solidFill>
                  <a:srgbClr val="2576B7"/>
                </a:solidFill>
                <a:latin typeface="Arial" panose="020B0604020202020204" pitchFamily="34" charset="0"/>
                <a:cs typeface="Arial" panose="020B0604020202020204" pitchFamily="34" charset="0"/>
              </a:defRPr>
            </a:lvl2pPr>
            <a:lvl3pPr marL="685709" indent="0">
              <a:lnSpc>
                <a:spcPts val="1050"/>
              </a:lnSpc>
              <a:buNone/>
              <a:defRPr sz="1050">
                <a:solidFill>
                  <a:srgbClr val="2576B7"/>
                </a:solidFill>
                <a:latin typeface="Arial" panose="020B0604020202020204" pitchFamily="34" charset="0"/>
                <a:cs typeface="Arial" panose="020B0604020202020204" pitchFamily="34" charset="0"/>
              </a:defRPr>
            </a:lvl3pPr>
            <a:lvl4pPr marL="1028563" indent="0">
              <a:lnSpc>
                <a:spcPts val="1050"/>
              </a:lnSpc>
              <a:buNone/>
              <a:defRPr sz="1050">
                <a:solidFill>
                  <a:srgbClr val="2576B7"/>
                </a:solidFill>
                <a:latin typeface="Arial" panose="020B0604020202020204" pitchFamily="34" charset="0"/>
                <a:cs typeface="Arial" panose="020B0604020202020204" pitchFamily="34" charset="0"/>
              </a:defRPr>
            </a:lvl4pPr>
            <a:lvl5pPr marL="1371417" indent="0">
              <a:lnSpc>
                <a:spcPts val="1050"/>
              </a:lnSpc>
              <a:buNone/>
              <a:defRPr sz="105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265545" y="530021"/>
            <a:ext cx="3724796" cy="1130188"/>
          </a:xfrm>
        </p:spPr>
        <p:txBody>
          <a:bodyPr>
            <a:noAutofit/>
          </a:bodyPr>
          <a:lstStyle>
            <a:lvl1pPr>
              <a:lnSpc>
                <a:spcPct val="90000"/>
              </a:lnSpc>
              <a:defRPr b="0" i="0">
                <a:latin typeface="Roboto Condensed Light" panose="02000000000000000000" pitchFamily="2" charset="0"/>
              </a:defRPr>
            </a:lvl1pPr>
          </a:lstStyle>
          <a:p>
            <a:r>
              <a:rPr lang="en-US" dirty="0"/>
              <a:t>Click to edit Master title style</a:t>
            </a:r>
          </a:p>
        </p:txBody>
      </p:sp>
      <p:sp>
        <p:nvSpPr>
          <p:cNvPr id="9" name="TextBox 8">
            <a:extLst>
              <a:ext uri="{FF2B5EF4-FFF2-40B4-BE49-F238E27FC236}">
                <a16:creationId xmlns:a16="http://schemas.microsoft.com/office/drawing/2014/main" id="{F9E3C8D6-0ED5-894A-BD50-6C9A62AE65FA}"/>
              </a:ext>
            </a:extLst>
          </p:cNvPr>
          <p:cNvSpPr txBox="1"/>
          <p:nvPr userDrawn="1"/>
        </p:nvSpPr>
        <p:spPr>
          <a:xfrm>
            <a:off x="6602156" y="6449568"/>
            <a:ext cx="2578415" cy="93680"/>
          </a:xfrm>
          <a:prstGeom prst="rect">
            <a:avLst/>
          </a:prstGeom>
        </p:spPr>
        <p:txBody>
          <a:bodyPr vert="horz" wrap="square" lIns="0" tIns="0" rIns="68571" bIns="0" rtlCol="0">
            <a:spAutoFit/>
          </a:bodyPr>
          <a:lstStyle/>
          <a:p>
            <a:pPr marL="5775" marR="182207" lvl="0" indent="0" algn="r" defTabSz="415814" rtl="0" eaLnBrk="1" fontAlgn="auto" latinLnBrk="0" hangingPunct="1">
              <a:lnSpc>
                <a:spcPct val="110000"/>
              </a:lnSpc>
              <a:spcBef>
                <a:spcPts val="41"/>
              </a:spcBef>
              <a:spcAft>
                <a:spcPts val="0"/>
              </a:spcAft>
              <a:buClrTx/>
              <a:buSzTx/>
              <a:buFontTx/>
              <a:buNone/>
              <a:tabLst/>
              <a:defRPr/>
            </a:pPr>
            <a:r>
              <a:rPr lang="en-CA" sz="600" spc="-13" dirty="0">
                <a:solidFill>
                  <a:schemeClr val="bg1"/>
                </a:solidFill>
                <a:latin typeface="Exo" panose="02000503000000000000" pitchFamily="2" charset="77"/>
              </a:rPr>
              <a:t>Info-</a:t>
            </a:r>
            <a:r>
              <a:rPr lang="en-CA" sz="600" spc="-77" dirty="0">
                <a:solidFill>
                  <a:schemeClr val="bg1"/>
                </a:solidFill>
                <a:latin typeface="Exo" panose="02000503000000000000" pitchFamily="2" charset="77"/>
              </a:rPr>
              <a:t>T</a:t>
            </a:r>
            <a:r>
              <a:rPr lang="en-CA" sz="600" spc="-11" dirty="0">
                <a:solidFill>
                  <a:schemeClr val="bg1"/>
                </a:solidFill>
                <a:latin typeface="Exo" panose="02000503000000000000" pitchFamily="2" charset="77"/>
              </a:rPr>
              <a:t>ec</a:t>
            </a:r>
            <a:r>
              <a:rPr lang="en-CA" sz="600" spc="4" dirty="0">
                <a:solidFill>
                  <a:schemeClr val="bg1"/>
                </a:solidFill>
                <a:latin typeface="Exo" panose="02000503000000000000" pitchFamily="2" charset="77"/>
              </a:rPr>
              <a:t>h</a:t>
            </a:r>
            <a:r>
              <a:rPr lang="en-CA" sz="600" spc="-29" dirty="0">
                <a:solidFill>
                  <a:schemeClr val="bg1"/>
                </a:solidFill>
                <a:latin typeface="Exo" panose="02000503000000000000" pitchFamily="2" charset="77"/>
              </a:rPr>
              <a:t> </a:t>
            </a:r>
            <a:r>
              <a:rPr lang="en-CA" sz="600" spc="-11" dirty="0">
                <a:solidFill>
                  <a:schemeClr val="bg1"/>
                </a:solidFill>
                <a:latin typeface="Exo" panose="02000503000000000000" pitchFamily="2" charset="77"/>
              </a:rPr>
              <a:t>Researc</a:t>
            </a:r>
            <a:r>
              <a:rPr lang="en-CA" sz="600" spc="4" dirty="0">
                <a:solidFill>
                  <a:schemeClr val="bg1"/>
                </a:solidFill>
                <a:latin typeface="Exo" panose="02000503000000000000" pitchFamily="2" charset="77"/>
              </a:rPr>
              <a:t>h</a:t>
            </a:r>
            <a:r>
              <a:rPr lang="en-CA" sz="600" spc="-29" dirty="0">
                <a:solidFill>
                  <a:schemeClr val="bg1"/>
                </a:solidFill>
                <a:latin typeface="Exo" panose="02000503000000000000" pitchFamily="2" charset="77"/>
              </a:rPr>
              <a:t> </a:t>
            </a:r>
            <a:r>
              <a:rPr lang="en-CA" sz="600" spc="-11" dirty="0">
                <a:solidFill>
                  <a:schemeClr val="bg1"/>
                </a:solidFill>
                <a:latin typeface="Exo" panose="02000503000000000000" pitchFamily="2" charset="77"/>
              </a:rPr>
              <a:t>Grou</a:t>
            </a:r>
            <a:r>
              <a:rPr lang="en-CA" sz="600" spc="4" dirty="0">
                <a:solidFill>
                  <a:schemeClr val="bg1"/>
                </a:solidFill>
                <a:latin typeface="Exo" panose="02000503000000000000" pitchFamily="2" charset="77"/>
              </a:rPr>
              <a:t>p   |   </a:t>
            </a:r>
            <a:fld id="{81D60167-4931-47E6-BA6A-407CBD079E47}" type="slidenum">
              <a:rPr lang="en-CA" sz="600" spc="4" smtClean="0">
                <a:solidFill>
                  <a:schemeClr val="bg1"/>
                </a:solidFill>
                <a:latin typeface="Exo" panose="02000503000000000000" pitchFamily="2" charset="77"/>
                <a:cs typeface="Arial" panose="020B0604020202020204" pitchFamily="34" charset="0"/>
              </a:rPr>
              <a:pPr marL="5775" marR="182207" lvl="0" indent="0" algn="r" defTabSz="415814" rtl="0" eaLnBrk="1" fontAlgn="auto" latinLnBrk="0" hangingPunct="1">
                <a:lnSpc>
                  <a:spcPct val="110000"/>
                </a:lnSpc>
                <a:spcBef>
                  <a:spcPts val="41"/>
                </a:spcBef>
                <a:spcAft>
                  <a:spcPts val="0"/>
                </a:spcAft>
                <a:buClrTx/>
                <a:buSzTx/>
                <a:buFontTx/>
                <a:buNone/>
                <a:tabLst/>
                <a:defRPr/>
              </a:pPr>
              <a:t>‹#›</a:t>
            </a:fld>
            <a:endParaRPr sz="600" spc="4" dirty="0">
              <a:solidFill>
                <a:schemeClr val="bg1"/>
              </a:solidFill>
              <a:latin typeface="Exo" panose="02000503000000000000" pitchFamily="2" charset="77"/>
              <a:cs typeface="Arial" panose="020B0604020202020204" pitchFamily="34" charset="0"/>
            </a:endParaRPr>
          </a:p>
        </p:txBody>
      </p:sp>
      <p:sp>
        <p:nvSpPr>
          <p:cNvPr id="10" name="Rectangle 9">
            <a:extLst>
              <a:ext uri="{FF2B5EF4-FFF2-40B4-BE49-F238E27FC236}">
                <a16:creationId xmlns:a16="http://schemas.microsoft.com/office/drawing/2014/main" id="{11BBAA67-01EA-5442-AE17-60831E18D0A2}"/>
              </a:ext>
            </a:extLst>
          </p:cNvPr>
          <p:cNvSpPr/>
          <p:nvPr userDrawn="1"/>
        </p:nvSpPr>
        <p:spPr>
          <a:xfrm>
            <a:off x="6008685" y="0"/>
            <a:ext cx="3135315" cy="6858000"/>
          </a:xfrm>
          <a:prstGeom prst="rect">
            <a:avLst/>
          </a:prstGeom>
          <a:gradFill>
            <a:gsLst>
              <a:gs pos="15000">
                <a:schemeClr val="bg1"/>
              </a:gs>
              <a:gs pos="85000">
                <a:schemeClr val="bg1">
                  <a:lumMod val="8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sz="1350" dirty="0">
              <a:latin typeface="Roboto Condensed Light" panose="02000000000000000000" pitchFamily="2" charset="0"/>
            </a:endParaRPr>
          </a:p>
        </p:txBody>
      </p:sp>
      <p:sp>
        <p:nvSpPr>
          <p:cNvPr id="18" name="TextBox 17">
            <a:extLst>
              <a:ext uri="{FF2B5EF4-FFF2-40B4-BE49-F238E27FC236}">
                <a16:creationId xmlns:a16="http://schemas.microsoft.com/office/drawing/2014/main" id="{173855CD-7213-0F47-93AA-736E3E614C05}"/>
              </a:ext>
            </a:extLst>
          </p:cNvPr>
          <p:cNvSpPr txBox="1"/>
          <p:nvPr userDrawn="1"/>
        </p:nvSpPr>
        <p:spPr>
          <a:xfrm>
            <a:off x="6600306" y="6451496"/>
            <a:ext cx="2578415" cy="93680"/>
          </a:xfrm>
          <a:prstGeom prst="rect">
            <a:avLst/>
          </a:prstGeom>
        </p:spPr>
        <p:txBody>
          <a:bodyPr vert="horz" wrap="square" lIns="0" tIns="0" rIns="68571" bIns="0" rtlCol="0">
            <a:spAutoFit/>
          </a:bodyPr>
          <a:lstStyle/>
          <a:p>
            <a:pPr marL="5775" marR="182207" lvl="0" indent="0" algn="r" defTabSz="415814" rtl="0" eaLnBrk="1" fontAlgn="auto" latinLnBrk="0" hangingPunct="1">
              <a:lnSpc>
                <a:spcPct val="110000"/>
              </a:lnSpc>
              <a:spcBef>
                <a:spcPts val="41"/>
              </a:spcBef>
              <a:spcAft>
                <a:spcPts val="0"/>
              </a:spcAft>
              <a:buClrTx/>
              <a:buSzTx/>
              <a:buFontTx/>
              <a:buNone/>
              <a:tabLst/>
              <a:defRPr/>
            </a:pPr>
            <a:r>
              <a:rPr lang="en-CA" sz="600" spc="-13" dirty="0">
                <a:solidFill>
                  <a:schemeClr val="tx1">
                    <a:lumMod val="50000"/>
                  </a:schemeClr>
                </a:solidFill>
                <a:latin typeface="Exo" panose="02000503000000000000" pitchFamily="2" charset="77"/>
              </a:rPr>
              <a:t>Info-</a:t>
            </a:r>
            <a:r>
              <a:rPr lang="en-CA" sz="600" spc="-77" dirty="0">
                <a:solidFill>
                  <a:schemeClr val="tx1">
                    <a:lumMod val="50000"/>
                  </a:schemeClr>
                </a:solidFill>
                <a:latin typeface="Exo" panose="02000503000000000000" pitchFamily="2" charset="77"/>
              </a:rPr>
              <a:t>T</a:t>
            </a:r>
            <a:r>
              <a:rPr lang="en-CA" sz="600" spc="-11" dirty="0">
                <a:solidFill>
                  <a:schemeClr val="tx1">
                    <a:lumMod val="50000"/>
                  </a:schemeClr>
                </a:solidFill>
                <a:latin typeface="Exo" panose="02000503000000000000" pitchFamily="2" charset="77"/>
              </a:rPr>
              <a:t>ec</a:t>
            </a:r>
            <a:r>
              <a:rPr lang="en-CA" sz="600" spc="4" dirty="0">
                <a:solidFill>
                  <a:schemeClr val="tx1">
                    <a:lumMod val="50000"/>
                  </a:schemeClr>
                </a:solidFill>
                <a:latin typeface="Exo" panose="02000503000000000000" pitchFamily="2" charset="77"/>
              </a:rPr>
              <a:t>h</a:t>
            </a:r>
            <a:r>
              <a:rPr lang="en-CA" sz="600" spc="-29" dirty="0">
                <a:solidFill>
                  <a:schemeClr val="tx1">
                    <a:lumMod val="50000"/>
                  </a:schemeClr>
                </a:solidFill>
                <a:latin typeface="Exo" panose="02000503000000000000" pitchFamily="2" charset="77"/>
              </a:rPr>
              <a:t> </a:t>
            </a:r>
            <a:r>
              <a:rPr lang="en-CA" sz="600" spc="-11" dirty="0">
                <a:solidFill>
                  <a:schemeClr val="tx1">
                    <a:lumMod val="50000"/>
                  </a:schemeClr>
                </a:solidFill>
                <a:latin typeface="Exo" panose="02000503000000000000" pitchFamily="2" charset="77"/>
              </a:rPr>
              <a:t>Researc</a:t>
            </a:r>
            <a:r>
              <a:rPr lang="en-CA" sz="600" spc="4" dirty="0">
                <a:solidFill>
                  <a:schemeClr val="tx1">
                    <a:lumMod val="50000"/>
                  </a:schemeClr>
                </a:solidFill>
                <a:latin typeface="Exo" panose="02000503000000000000" pitchFamily="2" charset="77"/>
              </a:rPr>
              <a:t>h</a:t>
            </a:r>
            <a:r>
              <a:rPr lang="en-CA" sz="600" spc="-29" dirty="0">
                <a:solidFill>
                  <a:schemeClr val="tx1">
                    <a:lumMod val="50000"/>
                  </a:schemeClr>
                </a:solidFill>
                <a:latin typeface="Exo" panose="02000503000000000000" pitchFamily="2" charset="77"/>
              </a:rPr>
              <a:t> </a:t>
            </a:r>
            <a:r>
              <a:rPr lang="en-CA" sz="600" spc="-11" dirty="0">
                <a:solidFill>
                  <a:schemeClr val="tx1">
                    <a:lumMod val="50000"/>
                  </a:schemeClr>
                </a:solidFill>
                <a:latin typeface="Exo" panose="02000503000000000000" pitchFamily="2" charset="77"/>
              </a:rPr>
              <a:t>Grou</a:t>
            </a:r>
            <a:r>
              <a:rPr lang="en-CA" sz="600" spc="4" dirty="0">
                <a:solidFill>
                  <a:schemeClr val="tx1">
                    <a:lumMod val="50000"/>
                  </a:schemeClr>
                </a:solidFill>
                <a:latin typeface="Exo" panose="02000503000000000000" pitchFamily="2" charset="77"/>
              </a:rPr>
              <a:t>p   |   </a:t>
            </a:r>
            <a:fld id="{81D60167-4931-47E6-BA6A-407CBD079E47}" type="slidenum">
              <a:rPr lang="en-CA" sz="600" spc="4" smtClean="0">
                <a:solidFill>
                  <a:schemeClr val="tx1">
                    <a:lumMod val="50000"/>
                  </a:schemeClr>
                </a:solidFill>
                <a:latin typeface="Exo" panose="02000503000000000000" pitchFamily="2" charset="77"/>
                <a:cs typeface="Arial" panose="020B0604020202020204" pitchFamily="34" charset="0"/>
              </a:rPr>
              <a:pPr marL="5775" marR="182207" lvl="0" indent="0" algn="r" defTabSz="415814" rtl="0" eaLnBrk="1" fontAlgn="auto" latinLnBrk="0" hangingPunct="1">
                <a:lnSpc>
                  <a:spcPct val="110000"/>
                </a:lnSpc>
                <a:spcBef>
                  <a:spcPts val="41"/>
                </a:spcBef>
                <a:spcAft>
                  <a:spcPts val="0"/>
                </a:spcAft>
                <a:buClrTx/>
                <a:buSzTx/>
                <a:buFontTx/>
                <a:buNone/>
                <a:tabLst/>
                <a:defRPr/>
              </a:pPr>
              <a:t>‹#›</a:t>
            </a:fld>
            <a:endParaRPr sz="600" spc="4" dirty="0">
              <a:solidFill>
                <a:schemeClr val="tx1">
                  <a:lumMod val="50000"/>
                </a:schemeClr>
              </a:solidFill>
              <a:latin typeface="Exo" panose="02000503000000000000" pitchFamily="2" charset="77"/>
              <a:cs typeface="Arial" panose="020B0604020202020204" pitchFamily="34" charset="0"/>
            </a:endParaRPr>
          </a:p>
        </p:txBody>
      </p:sp>
      <p:sp>
        <p:nvSpPr>
          <p:cNvPr id="13" name="Text Placeholder 4">
            <a:extLst>
              <a:ext uri="{FF2B5EF4-FFF2-40B4-BE49-F238E27FC236}">
                <a16:creationId xmlns:a16="http://schemas.microsoft.com/office/drawing/2014/main" id="{41C2BBAD-B7E6-B347-BE98-685621B93336}"/>
              </a:ext>
            </a:extLst>
          </p:cNvPr>
          <p:cNvSpPr>
            <a:spLocks noGrp="1"/>
          </p:cNvSpPr>
          <p:nvPr>
            <p:ph type="body" sz="quarter" idx="33"/>
          </p:nvPr>
        </p:nvSpPr>
        <p:spPr>
          <a:xfrm>
            <a:off x="278570" y="3135637"/>
            <a:ext cx="4266644" cy="2744168"/>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4429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Slide-graySidebar">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280530" y="1648758"/>
            <a:ext cx="4264685" cy="456696"/>
          </a:xfrm>
          <a:prstGeom prst="rect">
            <a:avLst/>
          </a:prstGeom>
        </p:spPr>
        <p:txBody>
          <a:bodyPr lIns="0" tIns="0" rIns="0" bIns="0">
            <a:noAutofit/>
          </a:bodyPr>
          <a:lstStyle>
            <a:lvl1pPr marL="0" indent="0">
              <a:lnSpc>
                <a:spcPct val="110000"/>
              </a:lnSpc>
              <a:buNone/>
              <a:defRPr sz="1500" b="0" i="0">
                <a:solidFill>
                  <a:srgbClr val="4A4A4A"/>
                </a:solidFill>
                <a:latin typeface="Montserrat SemiBold" pitchFamily="2" charset="77"/>
                <a:cs typeface="Arial" panose="020B0604020202020204" pitchFamily="34" charset="0"/>
              </a:defRPr>
            </a:lvl1pPr>
            <a:lvl2pPr marL="342854" indent="0">
              <a:lnSpc>
                <a:spcPts val="1800"/>
              </a:lnSpc>
              <a:buNone/>
              <a:defRPr sz="1500">
                <a:solidFill>
                  <a:srgbClr val="848585"/>
                </a:solidFill>
                <a:latin typeface="Arial" panose="020B0604020202020204" pitchFamily="34" charset="0"/>
                <a:cs typeface="Arial" panose="020B0604020202020204" pitchFamily="34" charset="0"/>
              </a:defRPr>
            </a:lvl2pPr>
            <a:lvl3pPr marL="685709" indent="0">
              <a:lnSpc>
                <a:spcPts val="1800"/>
              </a:lnSpc>
              <a:buNone/>
              <a:defRPr sz="1500">
                <a:solidFill>
                  <a:srgbClr val="848585"/>
                </a:solidFill>
                <a:latin typeface="Arial" panose="020B0604020202020204" pitchFamily="34" charset="0"/>
                <a:cs typeface="Arial" panose="020B0604020202020204" pitchFamily="34" charset="0"/>
              </a:defRPr>
            </a:lvl3pPr>
            <a:lvl4pPr marL="1028563" indent="0">
              <a:lnSpc>
                <a:spcPts val="1800"/>
              </a:lnSpc>
              <a:buNone/>
              <a:defRPr sz="1500">
                <a:solidFill>
                  <a:srgbClr val="848585"/>
                </a:solidFill>
                <a:latin typeface="Arial" panose="020B0604020202020204" pitchFamily="34" charset="0"/>
                <a:cs typeface="Arial" panose="020B0604020202020204" pitchFamily="34" charset="0"/>
              </a:defRPr>
            </a:lvl4pPr>
            <a:lvl5pPr marL="1371417"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7" name="Text Placeholder 17">
            <a:extLst>
              <a:ext uri="{FF2B5EF4-FFF2-40B4-BE49-F238E27FC236}">
                <a16:creationId xmlns:a16="http://schemas.microsoft.com/office/drawing/2014/main" id="{BC346A8C-5C1D-114F-94D6-BBB1ED290669}"/>
              </a:ext>
            </a:extLst>
          </p:cNvPr>
          <p:cNvSpPr>
            <a:spLocks noGrp="1"/>
          </p:cNvSpPr>
          <p:nvPr>
            <p:ph type="body" sz="quarter" idx="13"/>
          </p:nvPr>
        </p:nvSpPr>
        <p:spPr>
          <a:xfrm>
            <a:off x="287856" y="2035250"/>
            <a:ext cx="4257358" cy="473616"/>
          </a:xfrm>
          <a:prstGeom prst="rect">
            <a:avLst/>
          </a:prstGeom>
        </p:spPr>
        <p:txBody>
          <a:bodyPr lIns="0" tIns="0" rIns="0" bIns="0">
            <a:noAutofit/>
          </a:bodyPr>
          <a:lstStyle>
            <a:lvl1pPr marL="0" indent="0">
              <a:lnSpc>
                <a:spcPct val="110000"/>
              </a:lnSpc>
              <a:buNone/>
              <a:defRPr sz="1200" b="0" i="0">
                <a:solidFill>
                  <a:srgbClr val="2576B7"/>
                </a:solidFill>
                <a:latin typeface="Exo" panose="02000503000000000000" pitchFamily="2" charset="77"/>
                <a:cs typeface="Arial" panose="020B0604020202020204" pitchFamily="34" charset="0"/>
              </a:defRPr>
            </a:lvl1pPr>
            <a:lvl2pPr marL="342854" indent="0">
              <a:lnSpc>
                <a:spcPts val="1050"/>
              </a:lnSpc>
              <a:buNone/>
              <a:defRPr sz="1050">
                <a:solidFill>
                  <a:srgbClr val="2576B7"/>
                </a:solidFill>
                <a:latin typeface="Arial" panose="020B0604020202020204" pitchFamily="34" charset="0"/>
                <a:cs typeface="Arial" panose="020B0604020202020204" pitchFamily="34" charset="0"/>
              </a:defRPr>
            </a:lvl2pPr>
            <a:lvl3pPr marL="685709" indent="0">
              <a:lnSpc>
                <a:spcPts val="1050"/>
              </a:lnSpc>
              <a:buNone/>
              <a:defRPr sz="1050">
                <a:solidFill>
                  <a:srgbClr val="2576B7"/>
                </a:solidFill>
                <a:latin typeface="Arial" panose="020B0604020202020204" pitchFamily="34" charset="0"/>
                <a:cs typeface="Arial" panose="020B0604020202020204" pitchFamily="34" charset="0"/>
              </a:defRPr>
            </a:lvl3pPr>
            <a:lvl4pPr marL="1028563" indent="0">
              <a:lnSpc>
                <a:spcPts val="1050"/>
              </a:lnSpc>
              <a:buNone/>
              <a:defRPr sz="1050">
                <a:solidFill>
                  <a:srgbClr val="2576B7"/>
                </a:solidFill>
                <a:latin typeface="Arial" panose="020B0604020202020204" pitchFamily="34" charset="0"/>
                <a:cs typeface="Arial" panose="020B0604020202020204" pitchFamily="34" charset="0"/>
              </a:defRPr>
            </a:lvl4pPr>
            <a:lvl5pPr marL="1371417" indent="0">
              <a:lnSpc>
                <a:spcPts val="1050"/>
              </a:lnSpc>
              <a:buNone/>
              <a:defRPr sz="1050">
                <a:solidFill>
                  <a:srgbClr val="2576B7"/>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265545" y="530021"/>
            <a:ext cx="3724796" cy="1130188"/>
          </a:xfrm>
        </p:spPr>
        <p:txBody>
          <a:bodyPr>
            <a:noAutofit/>
          </a:bodyPr>
          <a:lstStyle>
            <a:lvl1pPr>
              <a:lnSpc>
                <a:spcPct val="90000"/>
              </a:lnSpc>
              <a:defRPr b="0" i="0">
                <a:latin typeface="Roboto Condensed Light" panose="02000000000000000000" pitchFamily="2" charset="0"/>
              </a:defRPr>
            </a:lvl1pPr>
          </a:lstStyle>
          <a:p>
            <a:r>
              <a:rPr lang="en-US" dirty="0"/>
              <a:t>Click to edit Master title style</a:t>
            </a:r>
          </a:p>
        </p:txBody>
      </p:sp>
      <p:sp>
        <p:nvSpPr>
          <p:cNvPr id="8" name="Text Placeholder 4">
            <a:extLst>
              <a:ext uri="{FF2B5EF4-FFF2-40B4-BE49-F238E27FC236}">
                <a16:creationId xmlns:a16="http://schemas.microsoft.com/office/drawing/2014/main" id="{2721BB38-35D8-6041-AE06-91C7C44D942C}"/>
              </a:ext>
            </a:extLst>
          </p:cNvPr>
          <p:cNvSpPr>
            <a:spLocks noGrp="1"/>
          </p:cNvSpPr>
          <p:nvPr>
            <p:ph type="body" sz="quarter" idx="33"/>
          </p:nvPr>
        </p:nvSpPr>
        <p:spPr>
          <a:xfrm>
            <a:off x="278571" y="3125004"/>
            <a:ext cx="5008307" cy="2637843"/>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F39C547E-7388-DC4A-B7BE-F29EBC5287ED}"/>
              </a:ext>
            </a:extLst>
          </p:cNvPr>
          <p:cNvSpPr txBox="1"/>
          <p:nvPr userDrawn="1"/>
        </p:nvSpPr>
        <p:spPr>
          <a:xfrm>
            <a:off x="8556146" y="6471920"/>
            <a:ext cx="0" cy="0"/>
          </a:xfrm>
          <a:prstGeom prst="rect">
            <a:avLst/>
          </a:prstGeom>
        </p:spPr>
        <p:txBody>
          <a:bodyPr wrap="none" lIns="0" tIns="0" rIns="0" bIns="0" numCol="1" spcCol="360000" rtlCol="0">
            <a:noAutofit/>
          </a:bodyPr>
          <a:lstStyle/>
          <a:p>
            <a:pPr marL="134523" indent="-134523" algn="l">
              <a:lnSpc>
                <a:spcPct val="110000"/>
              </a:lnSpc>
              <a:buFont typeface="Arial" panose="020B0604020202020204" pitchFamily="34" charset="0"/>
              <a:buChar char="•"/>
              <a:tabLst/>
            </a:pPr>
            <a:endParaRPr lang="en-US" sz="1050" dirty="0">
              <a:solidFill>
                <a:schemeClr val="tx1">
                  <a:lumMod val="50000"/>
                </a:schemeClr>
              </a:solidFill>
              <a:latin typeface="Roboto Condensed Light" panose="02000000000000000000" pitchFamily="2" charset="0"/>
              <a:ea typeface="Roboto Condensed Light" panose="02000000000000000000" pitchFamily="2" charset="0"/>
            </a:endParaRPr>
          </a:p>
        </p:txBody>
      </p:sp>
    </p:spTree>
    <p:extLst>
      <p:ext uri="{BB962C8B-B14F-4D97-AF65-F5344CB8AC3E}">
        <p14:creationId xmlns:p14="http://schemas.microsoft.com/office/powerpoint/2010/main" val="3530164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ver-Light-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CED198-04B0-1D4B-9CF9-27BE895D0690}"/>
              </a:ext>
            </a:extLst>
          </p:cNvPr>
          <p:cNvSpPr>
            <a:spLocks noGrp="1"/>
          </p:cNvSpPr>
          <p:nvPr>
            <p:ph type="body" sz="quarter" idx="10" hasCustomPrompt="1"/>
          </p:nvPr>
        </p:nvSpPr>
        <p:spPr>
          <a:xfrm>
            <a:off x="488093" y="1391732"/>
            <a:ext cx="5538662" cy="1306512"/>
          </a:xfrm>
          <a:prstGeom prst="rect">
            <a:avLst/>
          </a:prstGeom>
        </p:spPr>
        <p:txBody>
          <a:bodyPr/>
          <a:lstStyle>
            <a:lvl1pPr>
              <a:lnSpc>
                <a:spcPct val="90000"/>
              </a:lnSpc>
              <a:defRPr sz="3300" b="1" i="0">
                <a:solidFill>
                  <a:srgbClr val="2576B7"/>
                </a:solidFill>
                <a:latin typeface="Montserrat SemiBold" pitchFamily="2" charset="77"/>
              </a:defRPr>
            </a:lvl1pPr>
            <a:lvl2pPr>
              <a:defRPr sz="3300" b="1" i="0">
                <a:solidFill>
                  <a:schemeClr val="bg1"/>
                </a:solidFill>
                <a:latin typeface="Montserrat SemiBold" pitchFamily="2" charset="77"/>
              </a:defRPr>
            </a:lvl2pPr>
            <a:lvl3pPr>
              <a:defRPr sz="3300" b="1" i="0">
                <a:solidFill>
                  <a:schemeClr val="bg1"/>
                </a:solidFill>
                <a:latin typeface="Montserrat SemiBold" pitchFamily="2" charset="77"/>
              </a:defRPr>
            </a:lvl3pPr>
            <a:lvl4pPr>
              <a:defRPr sz="3300" b="1" i="0">
                <a:solidFill>
                  <a:schemeClr val="bg1"/>
                </a:solidFill>
                <a:latin typeface="Montserrat SemiBold" pitchFamily="2" charset="77"/>
              </a:defRPr>
            </a:lvl4pPr>
            <a:lvl5pPr>
              <a:defRPr sz="3300" b="1" i="0">
                <a:solidFill>
                  <a:schemeClr val="bg1"/>
                </a:solidFill>
                <a:latin typeface="Montserrat SemiBold" pitchFamily="2" charset="77"/>
              </a:defRPr>
            </a:lvl5pPr>
          </a:lstStyle>
          <a:p>
            <a:pPr lvl="0"/>
            <a:r>
              <a:rPr lang="en-US"/>
              <a:t>Observe the Evolution of Quantum Capacity</a:t>
            </a:r>
          </a:p>
        </p:txBody>
      </p:sp>
      <p:sp>
        <p:nvSpPr>
          <p:cNvPr id="6" name="Text Placeholder 12">
            <a:extLst>
              <a:ext uri="{FF2B5EF4-FFF2-40B4-BE49-F238E27FC236}">
                <a16:creationId xmlns:a16="http://schemas.microsoft.com/office/drawing/2014/main" id="{EAADC29E-F49F-8346-8BFF-9C1BE044E4BE}"/>
              </a:ext>
            </a:extLst>
          </p:cNvPr>
          <p:cNvSpPr>
            <a:spLocks noGrp="1"/>
          </p:cNvSpPr>
          <p:nvPr>
            <p:ph type="body" sz="quarter" idx="11" hasCustomPrompt="1"/>
          </p:nvPr>
        </p:nvSpPr>
        <p:spPr>
          <a:xfrm>
            <a:off x="488093" y="2794293"/>
            <a:ext cx="4277162" cy="1893887"/>
          </a:xfrm>
          <a:prstGeom prst="rect">
            <a:avLst/>
          </a:prstGeom>
        </p:spPr>
        <p:txBody>
          <a:bodyPr/>
          <a:lstStyle>
            <a:lvl1pPr>
              <a:lnSpc>
                <a:spcPct val="100000"/>
              </a:lnSpc>
              <a:defRPr sz="1800" b="0" i="0">
                <a:solidFill>
                  <a:srgbClr val="4A4A4A"/>
                </a:solidFill>
                <a:latin typeface="Exo" panose="02000503000000000000" pitchFamily="2" charset="77"/>
              </a:defRPr>
            </a:lvl1pPr>
            <a:lvl2pPr>
              <a:defRPr sz="2250" b="0" i="0">
                <a:solidFill>
                  <a:schemeClr val="bg1"/>
                </a:solidFill>
                <a:latin typeface="Exo Light" pitchFamily="2" charset="77"/>
              </a:defRPr>
            </a:lvl2pPr>
            <a:lvl3pPr>
              <a:defRPr sz="2250" b="0" i="0">
                <a:solidFill>
                  <a:schemeClr val="bg1"/>
                </a:solidFill>
                <a:latin typeface="Exo Light" pitchFamily="2" charset="77"/>
              </a:defRPr>
            </a:lvl3pPr>
            <a:lvl4pPr>
              <a:defRPr sz="2250" b="0" i="0">
                <a:solidFill>
                  <a:schemeClr val="bg1"/>
                </a:solidFill>
                <a:latin typeface="Exo Light" pitchFamily="2" charset="77"/>
              </a:defRPr>
            </a:lvl4pPr>
            <a:lvl5pPr>
              <a:defRPr sz="2250" b="0" i="0">
                <a:solidFill>
                  <a:schemeClr val="bg1"/>
                </a:solidFill>
                <a:latin typeface="Exo Light" pitchFamily="2" charset="77"/>
              </a:defRPr>
            </a:lvl5pPr>
          </a:lstStyle>
          <a:p>
            <a:pPr lvl="0"/>
            <a:r>
              <a:rPr lang="en-US"/>
              <a:t>Keep track of a transformational technology as it evolves.</a:t>
            </a:r>
          </a:p>
        </p:txBody>
      </p:sp>
    </p:spTree>
    <p:extLst>
      <p:ext uri="{BB962C8B-B14F-4D97-AF65-F5344CB8AC3E}">
        <p14:creationId xmlns:p14="http://schemas.microsoft.com/office/powerpoint/2010/main" val="34893477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Content Slide-blue-leftSidebar">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3938774" y="1648758"/>
            <a:ext cx="4264685" cy="456696"/>
          </a:xfrm>
          <a:prstGeom prst="rect">
            <a:avLst/>
          </a:prstGeom>
        </p:spPr>
        <p:txBody>
          <a:bodyPr lIns="0" tIns="0" rIns="0" bIns="0">
            <a:noAutofit/>
          </a:bodyPr>
          <a:lstStyle>
            <a:lvl1pPr marL="0" indent="0">
              <a:lnSpc>
                <a:spcPct val="110000"/>
              </a:lnSpc>
              <a:buNone/>
              <a:defRPr sz="1500" b="0" i="0">
                <a:solidFill>
                  <a:srgbClr val="4A4A4A"/>
                </a:solidFill>
                <a:latin typeface="Montserrat SemiBold" pitchFamily="2" charset="77"/>
                <a:cs typeface="Arial" panose="020B0604020202020204" pitchFamily="34" charset="0"/>
              </a:defRPr>
            </a:lvl1pPr>
            <a:lvl2pPr marL="342820" indent="0">
              <a:lnSpc>
                <a:spcPts val="1800"/>
              </a:lnSpc>
              <a:buNone/>
              <a:defRPr sz="1500">
                <a:solidFill>
                  <a:srgbClr val="848585"/>
                </a:solidFill>
                <a:latin typeface="Arial" panose="020B0604020202020204" pitchFamily="34" charset="0"/>
                <a:cs typeface="Arial" panose="020B0604020202020204" pitchFamily="34" charset="0"/>
              </a:defRPr>
            </a:lvl2pPr>
            <a:lvl3pPr marL="685640" indent="0">
              <a:lnSpc>
                <a:spcPts val="1800"/>
              </a:lnSpc>
              <a:buNone/>
              <a:defRPr sz="1500">
                <a:solidFill>
                  <a:srgbClr val="848585"/>
                </a:solidFill>
                <a:latin typeface="Arial" panose="020B0604020202020204" pitchFamily="34" charset="0"/>
                <a:cs typeface="Arial" panose="020B0604020202020204" pitchFamily="34" charset="0"/>
              </a:defRPr>
            </a:lvl3pPr>
            <a:lvl4pPr marL="1028460" indent="0">
              <a:lnSpc>
                <a:spcPts val="1800"/>
              </a:lnSpc>
              <a:buNone/>
              <a:defRPr sz="1500">
                <a:solidFill>
                  <a:srgbClr val="848585"/>
                </a:solidFill>
                <a:latin typeface="Arial" panose="020B0604020202020204" pitchFamily="34" charset="0"/>
                <a:cs typeface="Arial" panose="020B0604020202020204" pitchFamily="34" charset="0"/>
              </a:defRPr>
            </a:lvl4pPr>
            <a:lvl5pPr marL="1371280"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3923789" y="530021"/>
            <a:ext cx="3724796" cy="1130188"/>
          </a:xfrm>
        </p:spPr>
        <p:txBody>
          <a:bodyPr>
            <a:noAutofit/>
          </a:bodyPr>
          <a:lstStyle>
            <a:lvl1pPr>
              <a:lnSpc>
                <a:spcPct val="90000"/>
              </a:lnSpc>
              <a:defRPr b="0" i="0">
                <a:latin typeface="Roboto Condensed Light" panose="02000000000000000000" pitchFamily="2" charset="0"/>
              </a:defRPr>
            </a:lvl1pPr>
          </a:lstStyle>
          <a:p>
            <a:r>
              <a:rPr lang="en-US" dirty="0"/>
              <a:t>Click to edit Master title style</a:t>
            </a:r>
          </a:p>
        </p:txBody>
      </p:sp>
      <p:sp>
        <p:nvSpPr>
          <p:cNvPr id="8" name="Rectangle 7">
            <a:extLst>
              <a:ext uri="{FF2B5EF4-FFF2-40B4-BE49-F238E27FC236}">
                <a16:creationId xmlns:a16="http://schemas.microsoft.com/office/drawing/2014/main" id="{F2D5BCB0-D6FF-CC4C-92CC-90D104D4F343}"/>
              </a:ext>
            </a:extLst>
          </p:cNvPr>
          <p:cNvSpPr/>
          <p:nvPr userDrawn="1"/>
        </p:nvSpPr>
        <p:spPr>
          <a:xfrm>
            <a:off x="0" y="0"/>
            <a:ext cx="3195221" cy="6858000"/>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sz="1350" dirty="0">
              <a:solidFill>
                <a:srgbClr val="1E5E92"/>
              </a:solidFill>
              <a:latin typeface="Roboto Condensed Light" panose="02000000000000000000" pitchFamily="2" charset="0"/>
            </a:endParaRPr>
          </a:p>
        </p:txBody>
      </p:sp>
      <p:sp>
        <p:nvSpPr>
          <p:cNvPr id="9" name="Text Placeholder 11">
            <a:extLst>
              <a:ext uri="{FF2B5EF4-FFF2-40B4-BE49-F238E27FC236}">
                <a16:creationId xmlns:a16="http://schemas.microsoft.com/office/drawing/2014/main" id="{2FD860C3-79CC-434D-9984-9C39951BAE42}"/>
              </a:ext>
            </a:extLst>
          </p:cNvPr>
          <p:cNvSpPr>
            <a:spLocks noGrp="1"/>
          </p:cNvSpPr>
          <p:nvPr>
            <p:ph type="body" sz="quarter" idx="14"/>
          </p:nvPr>
        </p:nvSpPr>
        <p:spPr>
          <a:xfrm>
            <a:off x="275708" y="952502"/>
            <a:ext cx="2467136" cy="5367277"/>
          </a:xfrm>
          <a:prstGeom prst="rect">
            <a:avLst/>
          </a:prstGeom>
        </p:spPr>
        <p:txBody>
          <a:bodyPr lIns="0" tIns="0" rIns="0" bIns="0" anchor="ctr" anchorCtr="0">
            <a:noAutofit/>
          </a:bodyPr>
          <a:lstStyle>
            <a:lvl1pPr marL="0" indent="0">
              <a:lnSpc>
                <a:spcPct val="110000"/>
              </a:lnSpc>
              <a:buNone/>
              <a:defRPr sz="1500" b="0" i="0" spc="0">
                <a:solidFill>
                  <a:schemeClr val="bg1"/>
                </a:solidFill>
                <a:latin typeface="Montserrat Medium" pitchFamily="2" charset="77"/>
                <a:cs typeface="Arial" panose="020B0604020202020204" pitchFamily="34" charset="0"/>
              </a:defRPr>
            </a:lvl1pPr>
            <a:lvl2pPr marL="342820" indent="0">
              <a:lnSpc>
                <a:spcPts val="1800"/>
              </a:lnSpc>
              <a:buNone/>
              <a:defRPr sz="1500">
                <a:solidFill>
                  <a:srgbClr val="848585"/>
                </a:solidFill>
                <a:latin typeface="Arial" panose="020B0604020202020204" pitchFamily="34" charset="0"/>
                <a:cs typeface="Arial" panose="020B0604020202020204" pitchFamily="34" charset="0"/>
              </a:defRPr>
            </a:lvl2pPr>
            <a:lvl3pPr marL="685640" indent="0">
              <a:lnSpc>
                <a:spcPts val="1800"/>
              </a:lnSpc>
              <a:buNone/>
              <a:defRPr sz="1500">
                <a:solidFill>
                  <a:srgbClr val="848585"/>
                </a:solidFill>
                <a:latin typeface="Arial" panose="020B0604020202020204" pitchFamily="34" charset="0"/>
                <a:cs typeface="Arial" panose="020B0604020202020204" pitchFamily="34" charset="0"/>
              </a:defRPr>
            </a:lvl3pPr>
            <a:lvl4pPr marL="1028460" indent="0">
              <a:lnSpc>
                <a:spcPts val="1800"/>
              </a:lnSpc>
              <a:buNone/>
              <a:defRPr sz="1500">
                <a:solidFill>
                  <a:srgbClr val="848585"/>
                </a:solidFill>
                <a:latin typeface="Arial" panose="020B0604020202020204" pitchFamily="34" charset="0"/>
                <a:cs typeface="Arial" panose="020B0604020202020204" pitchFamily="34" charset="0"/>
              </a:defRPr>
            </a:lvl4pPr>
            <a:lvl5pPr marL="1371280"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7" name="Text Placeholder 4">
            <a:extLst>
              <a:ext uri="{FF2B5EF4-FFF2-40B4-BE49-F238E27FC236}">
                <a16:creationId xmlns:a16="http://schemas.microsoft.com/office/drawing/2014/main" id="{BFD1FFC3-1E5E-9546-8506-BC69F33F92C0}"/>
              </a:ext>
            </a:extLst>
          </p:cNvPr>
          <p:cNvSpPr>
            <a:spLocks noGrp="1"/>
          </p:cNvSpPr>
          <p:nvPr>
            <p:ph type="body" sz="quarter" idx="33"/>
          </p:nvPr>
        </p:nvSpPr>
        <p:spPr>
          <a:xfrm>
            <a:off x="3923789" y="2518948"/>
            <a:ext cx="4995212" cy="3275796"/>
          </a:xfrm>
          <a:prstGeom prst="rect">
            <a:avLst/>
          </a:prstGeom>
        </p:spPr>
        <p:txBody>
          <a:bodyPr lIns="0" tIns="0" rIns="0" bIns="0" numCol="1" spcCol="292608"/>
          <a:lstStyle>
            <a:lvl1pPr marL="134510" indent="-13451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377" indent="-128558">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578" indent="-130939">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779" indent="-133319">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837" indent="-128558">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4681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Content Slide-blue-rightSidebar">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D426E116-0FE3-D446-B568-6373B436AD1A}"/>
              </a:ext>
            </a:extLst>
          </p:cNvPr>
          <p:cNvSpPr>
            <a:spLocks noGrp="1"/>
          </p:cNvSpPr>
          <p:nvPr>
            <p:ph type="body" sz="quarter" idx="11"/>
          </p:nvPr>
        </p:nvSpPr>
        <p:spPr>
          <a:xfrm>
            <a:off x="297971" y="1648758"/>
            <a:ext cx="4264685" cy="456696"/>
          </a:xfrm>
          <a:prstGeom prst="rect">
            <a:avLst/>
          </a:prstGeom>
        </p:spPr>
        <p:txBody>
          <a:bodyPr lIns="0" tIns="0" rIns="0" bIns="0">
            <a:noAutofit/>
          </a:bodyPr>
          <a:lstStyle>
            <a:lvl1pPr marL="0" indent="0">
              <a:lnSpc>
                <a:spcPct val="110000"/>
              </a:lnSpc>
              <a:buNone/>
              <a:defRPr sz="1500" b="0" i="0">
                <a:solidFill>
                  <a:srgbClr val="848585"/>
                </a:solidFill>
                <a:latin typeface="Montserrat SemiBold" pitchFamily="2" charset="77"/>
                <a:cs typeface="Arial" panose="020B0604020202020204" pitchFamily="34" charset="0"/>
              </a:defRPr>
            </a:lvl1pPr>
            <a:lvl2pPr marL="342820" indent="0">
              <a:lnSpc>
                <a:spcPts val="1800"/>
              </a:lnSpc>
              <a:buNone/>
              <a:defRPr sz="1500">
                <a:solidFill>
                  <a:srgbClr val="848585"/>
                </a:solidFill>
                <a:latin typeface="Arial" panose="020B0604020202020204" pitchFamily="34" charset="0"/>
                <a:cs typeface="Arial" panose="020B0604020202020204" pitchFamily="34" charset="0"/>
              </a:defRPr>
            </a:lvl2pPr>
            <a:lvl3pPr marL="685640" indent="0">
              <a:lnSpc>
                <a:spcPts val="1800"/>
              </a:lnSpc>
              <a:buNone/>
              <a:defRPr sz="1500">
                <a:solidFill>
                  <a:srgbClr val="848585"/>
                </a:solidFill>
                <a:latin typeface="Arial" panose="020B0604020202020204" pitchFamily="34" charset="0"/>
                <a:cs typeface="Arial" panose="020B0604020202020204" pitchFamily="34" charset="0"/>
              </a:defRPr>
            </a:lvl3pPr>
            <a:lvl4pPr marL="1028460" indent="0">
              <a:lnSpc>
                <a:spcPts val="1800"/>
              </a:lnSpc>
              <a:buNone/>
              <a:defRPr sz="1500">
                <a:solidFill>
                  <a:srgbClr val="848585"/>
                </a:solidFill>
                <a:latin typeface="Arial" panose="020B0604020202020204" pitchFamily="34" charset="0"/>
                <a:cs typeface="Arial" panose="020B0604020202020204" pitchFamily="34" charset="0"/>
              </a:defRPr>
            </a:lvl4pPr>
            <a:lvl5pPr marL="1371280"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itle 9">
            <a:extLst>
              <a:ext uri="{FF2B5EF4-FFF2-40B4-BE49-F238E27FC236}">
                <a16:creationId xmlns:a16="http://schemas.microsoft.com/office/drawing/2014/main" id="{488EE5B4-C583-A04D-B5FC-EA23A0B46B36}"/>
              </a:ext>
            </a:extLst>
          </p:cNvPr>
          <p:cNvSpPr>
            <a:spLocks noGrp="1"/>
          </p:cNvSpPr>
          <p:nvPr>
            <p:ph type="title"/>
          </p:nvPr>
        </p:nvSpPr>
        <p:spPr>
          <a:xfrm>
            <a:off x="282986" y="530021"/>
            <a:ext cx="5003892" cy="1130188"/>
          </a:xfrm>
        </p:spPr>
        <p:txBody>
          <a:bodyPr>
            <a:noAutofit/>
          </a:bodyPr>
          <a:lstStyle>
            <a:lvl1pPr>
              <a:lnSpc>
                <a:spcPct val="90000"/>
              </a:lnSpc>
              <a:defRPr b="0" i="0">
                <a:latin typeface="Roboto Condensed Light" panose="02000000000000000000" pitchFamily="2" charset="0"/>
              </a:defRPr>
            </a:lvl1pPr>
          </a:lstStyle>
          <a:p>
            <a:r>
              <a:rPr lang="en-US" dirty="0"/>
              <a:t>Click to edit Master title style</a:t>
            </a:r>
          </a:p>
        </p:txBody>
      </p:sp>
      <p:sp>
        <p:nvSpPr>
          <p:cNvPr id="8" name="Rectangle 7">
            <a:extLst>
              <a:ext uri="{FF2B5EF4-FFF2-40B4-BE49-F238E27FC236}">
                <a16:creationId xmlns:a16="http://schemas.microsoft.com/office/drawing/2014/main" id="{F2D5BCB0-D6FF-CC4C-92CC-90D104D4F343}"/>
              </a:ext>
            </a:extLst>
          </p:cNvPr>
          <p:cNvSpPr/>
          <p:nvPr userDrawn="1"/>
        </p:nvSpPr>
        <p:spPr>
          <a:xfrm>
            <a:off x="6003541" y="0"/>
            <a:ext cx="3140460" cy="6858000"/>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sz="1350" dirty="0">
              <a:solidFill>
                <a:srgbClr val="1E5E92"/>
              </a:solidFill>
              <a:latin typeface="Roboto Condensed Light" panose="02000000000000000000" pitchFamily="2" charset="0"/>
            </a:endParaRPr>
          </a:p>
        </p:txBody>
      </p:sp>
      <p:sp>
        <p:nvSpPr>
          <p:cNvPr id="9" name="Text Placeholder 11">
            <a:extLst>
              <a:ext uri="{FF2B5EF4-FFF2-40B4-BE49-F238E27FC236}">
                <a16:creationId xmlns:a16="http://schemas.microsoft.com/office/drawing/2014/main" id="{2FD860C3-79CC-434D-9984-9C39951BAE42}"/>
              </a:ext>
            </a:extLst>
          </p:cNvPr>
          <p:cNvSpPr>
            <a:spLocks noGrp="1"/>
          </p:cNvSpPr>
          <p:nvPr>
            <p:ph type="body" sz="quarter" idx="14"/>
          </p:nvPr>
        </p:nvSpPr>
        <p:spPr>
          <a:xfrm>
            <a:off x="6418702" y="952500"/>
            <a:ext cx="2272919" cy="4881142"/>
          </a:xfrm>
          <a:prstGeom prst="rect">
            <a:avLst/>
          </a:prstGeom>
        </p:spPr>
        <p:txBody>
          <a:bodyPr lIns="0" tIns="0" rIns="0" bIns="0" anchor="ctr" anchorCtr="0">
            <a:noAutofit/>
          </a:bodyPr>
          <a:lstStyle>
            <a:lvl1pPr marL="0" indent="0">
              <a:lnSpc>
                <a:spcPct val="110000"/>
              </a:lnSpc>
              <a:buNone/>
              <a:defRPr sz="1500" b="0" i="0" spc="0">
                <a:solidFill>
                  <a:schemeClr val="bg1"/>
                </a:solidFill>
                <a:latin typeface="Montserrat" pitchFamily="2" charset="77"/>
                <a:cs typeface="Arial" panose="020B0604020202020204" pitchFamily="34" charset="0"/>
              </a:defRPr>
            </a:lvl1pPr>
            <a:lvl2pPr marL="342820" indent="0">
              <a:lnSpc>
                <a:spcPts val="1800"/>
              </a:lnSpc>
              <a:buNone/>
              <a:defRPr sz="1500">
                <a:solidFill>
                  <a:srgbClr val="848585"/>
                </a:solidFill>
                <a:latin typeface="Arial" panose="020B0604020202020204" pitchFamily="34" charset="0"/>
                <a:cs typeface="Arial" panose="020B0604020202020204" pitchFamily="34" charset="0"/>
              </a:defRPr>
            </a:lvl2pPr>
            <a:lvl3pPr marL="685640" indent="0">
              <a:lnSpc>
                <a:spcPts val="1800"/>
              </a:lnSpc>
              <a:buNone/>
              <a:defRPr sz="1500">
                <a:solidFill>
                  <a:srgbClr val="848585"/>
                </a:solidFill>
                <a:latin typeface="Arial" panose="020B0604020202020204" pitchFamily="34" charset="0"/>
                <a:cs typeface="Arial" panose="020B0604020202020204" pitchFamily="34" charset="0"/>
              </a:defRPr>
            </a:lvl3pPr>
            <a:lvl4pPr marL="1028460" indent="0">
              <a:lnSpc>
                <a:spcPts val="1800"/>
              </a:lnSpc>
              <a:buNone/>
              <a:defRPr sz="1500">
                <a:solidFill>
                  <a:srgbClr val="848585"/>
                </a:solidFill>
                <a:latin typeface="Arial" panose="020B0604020202020204" pitchFamily="34" charset="0"/>
                <a:cs typeface="Arial" panose="020B0604020202020204" pitchFamily="34" charset="0"/>
              </a:defRPr>
            </a:lvl4pPr>
            <a:lvl5pPr marL="1371280"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7" name="TextBox 6">
            <a:extLst>
              <a:ext uri="{FF2B5EF4-FFF2-40B4-BE49-F238E27FC236}">
                <a16:creationId xmlns:a16="http://schemas.microsoft.com/office/drawing/2014/main" id="{2AD1AD55-DE6F-7A48-87C1-BCB637DDFBBA}"/>
              </a:ext>
            </a:extLst>
          </p:cNvPr>
          <p:cNvSpPr txBox="1"/>
          <p:nvPr userDrawn="1"/>
        </p:nvSpPr>
        <p:spPr>
          <a:xfrm>
            <a:off x="6602157" y="6449570"/>
            <a:ext cx="2578415" cy="93680"/>
          </a:xfrm>
          <a:prstGeom prst="rect">
            <a:avLst/>
          </a:prstGeom>
        </p:spPr>
        <p:txBody>
          <a:bodyPr vert="horz" wrap="square" lIns="0" tIns="0" rIns="68562" bIns="0" rtlCol="0">
            <a:spAutoFit/>
          </a:bodyPr>
          <a:lstStyle/>
          <a:p>
            <a:pPr marL="5774" marR="182189" lvl="0" indent="0" algn="r" defTabSz="415772" rtl="0" eaLnBrk="1" fontAlgn="auto" latinLnBrk="0" hangingPunct="1">
              <a:lnSpc>
                <a:spcPct val="110000"/>
              </a:lnSpc>
              <a:spcBef>
                <a:spcPts val="41"/>
              </a:spcBef>
              <a:spcAft>
                <a:spcPts val="0"/>
              </a:spcAft>
              <a:buClrTx/>
              <a:buSzTx/>
              <a:buFontTx/>
              <a:buNone/>
              <a:tabLst/>
              <a:defRPr/>
            </a:pPr>
            <a:r>
              <a:rPr lang="en-CA" sz="600" spc="-13" dirty="0">
                <a:solidFill>
                  <a:schemeClr val="bg1"/>
                </a:solidFill>
                <a:latin typeface="Exo" panose="02000503000000000000" pitchFamily="2" charset="77"/>
              </a:rPr>
              <a:t>Info-</a:t>
            </a:r>
            <a:r>
              <a:rPr lang="en-CA" sz="600" spc="-77" dirty="0">
                <a:solidFill>
                  <a:schemeClr val="bg1"/>
                </a:solidFill>
                <a:latin typeface="Exo" panose="02000503000000000000" pitchFamily="2" charset="77"/>
              </a:rPr>
              <a:t>T</a:t>
            </a:r>
            <a:r>
              <a:rPr lang="en-CA" sz="600" spc="-11" dirty="0">
                <a:solidFill>
                  <a:schemeClr val="bg1"/>
                </a:solidFill>
                <a:latin typeface="Exo" panose="02000503000000000000" pitchFamily="2" charset="77"/>
              </a:rPr>
              <a:t>ec</a:t>
            </a:r>
            <a:r>
              <a:rPr lang="en-CA" sz="600" spc="4" dirty="0">
                <a:solidFill>
                  <a:schemeClr val="bg1"/>
                </a:solidFill>
                <a:latin typeface="Exo" panose="02000503000000000000" pitchFamily="2" charset="77"/>
              </a:rPr>
              <a:t>h</a:t>
            </a:r>
            <a:r>
              <a:rPr lang="en-CA" sz="600" spc="-29" dirty="0">
                <a:solidFill>
                  <a:schemeClr val="bg1"/>
                </a:solidFill>
                <a:latin typeface="Exo" panose="02000503000000000000" pitchFamily="2" charset="77"/>
              </a:rPr>
              <a:t> </a:t>
            </a:r>
            <a:r>
              <a:rPr lang="en-CA" sz="600" spc="-11" dirty="0">
                <a:solidFill>
                  <a:schemeClr val="bg1"/>
                </a:solidFill>
                <a:latin typeface="Exo" panose="02000503000000000000" pitchFamily="2" charset="77"/>
              </a:rPr>
              <a:t>Researc</a:t>
            </a:r>
            <a:r>
              <a:rPr lang="en-CA" sz="600" spc="4" dirty="0">
                <a:solidFill>
                  <a:schemeClr val="bg1"/>
                </a:solidFill>
                <a:latin typeface="Exo" panose="02000503000000000000" pitchFamily="2" charset="77"/>
              </a:rPr>
              <a:t>h</a:t>
            </a:r>
            <a:r>
              <a:rPr lang="en-CA" sz="600" spc="-29" dirty="0">
                <a:solidFill>
                  <a:schemeClr val="bg1"/>
                </a:solidFill>
                <a:latin typeface="Exo" panose="02000503000000000000" pitchFamily="2" charset="77"/>
              </a:rPr>
              <a:t> </a:t>
            </a:r>
            <a:r>
              <a:rPr lang="en-CA" sz="600" spc="-11" dirty="0">
                <a:solidFill>
                  <a:schemeClr val="bg1"/>
                </a:solidFill>
                <a:latin typeface="Exo" panose="02000503000000000000" pitchFamily="2" charset="77"/>
              </a:rPr>
              <a:t>Grou</a:t>
            </a:r>
            <a:r>
              <a:rPr lang="en-CA" sz="600" spc="4" dirty="0">
                <a:solidFill>
                  <a:schemeClr val="bg1"/>
                </a:solidFill>
                <a:latin typeface="Exo" panose="02000503000000000000" pitchFamily="2" charset="77"/>
              </a:rPr>
              <a:t>p   |   </a:t>
            </a:r>
            <a:fld id="{81D60167-4931-47E6-BA6A-407CBD079E47}" type="slidenum">
              <a:rPr lang="en-CA" sz="600" spc="4" smtClean="0">
                <a:solidFill>
                  <a:schemeClr val="bg1"/>
                </a:solidFill>
                <a:latin typeface="Exo" panose="02000503000000000000" pitchFamily="2" charset="77"/>
                <a:cs typeface="Arial" panose="020B0604020202020204" pitchFamily="34" charset="0"/>
              </a:rPr>
              <a:pPr marL="5774" marR="182189" lvl="0" indent="0" algn="r" defTabSz="415772" rtl="0" eaLnBrk="1" fontAlgn="auto" latinLnBrk="0" hangingPunct="1">
                <a:lnSpc>
                  <a:spcPct val="110000"/>
                </a:lnSpc>
                <a:spcBef>
                  <a:spcPts val="41"/>
                </a:spcBef>
                <a:spcAft>
                  <a:spcPts val="0"/>
                </a:spcAft>
                <a:buClrTx/>
                <a:buSzTx/>
                <a:buFontTx/>
                <a:buNone/>
                <a:tabLst/>
                <a:defRPr/>
              </a:pPr>
              <a:t>‹#›</a:t>
            </a:fld>
            <a:endParaRPr sz="600" spc="4" dirty="0">
              <a:solidFill>
                <a:schemeClr val="bg1"/>
              </a:solidFill>
              <a:latin typeface="Exo" panose="02000503000000000000" pitchFamily="2" charset="77"/>
              <a:cs typeface="Arial" panose="020B0604020202020204" pitchFamily="34" charset="0"/>
            </a:endParaRPr>
          </a:p>
        </p:txBody>
      </p:sp>
      <p:sp>
        <p:nvSpPr>
          <p:cNvPr id="10" name="Text Placeholder 4">
            <a:extLst>
              <a:ext uri="{FF2B5EF4-FFF2-40B4-BE49-F238E27FC236}">
                <a16:creationId xmlns:a16="http://schemas.microsoft.com/office/drawing/2014/main" id="{9827AB02-2D82-654F-ADA6-39B4D879BBE4}"/>
              </a:ext>
            </a:extLst>
          </p:cNvPr>
          <p:cNvSpPr>
            <a:spLocks noGrp="1"/>
          </p:cNvSpPr>
          <p:nvPr>
            <p:ph type="body" sz="quarter" idx="33"/>
          </p:nvPr>
        </p:nvSpPr>
        <p:spPr>
          <a:xfrm>
            <a:off x="278571" y="2508316"/>
            <a:ext cx="5008307" cy="3243898"/>
          </a:xfrm>
          <a:prstGeom prst="rect">
            <a:avLst/>
          </a:prstGeom>
        </p:spPr>
        <p:txBody>
          <a:bodyPr lIns="0" tIns="0" rIns="0" bIns="0" numCol="1" spcCol="292608"/>
          <a:lstStyle>
            <a:lvl1pPr marL="134510" indent="-13451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377" indent="-128558">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578" indent="-130939">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779" indent="-133319">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837" indent="-128558">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2172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83346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Generic">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3B516A-EFFC-6246-AECE-1B5BAC3B0EDB}"/>
              </a:ext>
            </a:extLst>
          </p:cNvPr>
          <p:cNvSpPr>
            <a:spLocks noGrp="1"/>
          </p:cNvSpPr>
          <p:nvPr>
            <p:ph idx="1"/>
          </p:nvPr>
        </p:nvSpPr>
        <p:spPr/>
        <p:txBody>
          <a:bodyPr>
            <a:noAutofit/>
          </a:bodyPr>
          <a:lstStyle>
            <a:lvl1pPr marL="0" indent="0">
              <a:buNone/>
              <a:defRPr sz="2100" b="0">
                <a:solidFill>
                  <a:srgbClr val="717272"/>
                </a:solidFill>
                <a:latin typeface="Roboto Condensed Light" panose="02000000000000000000" pitchFamily="2" charset="0"/>
              </a:defRPr>
            </a:lvl1pPr>
            <a:lvl2pPr>
              <a:defRPr sz="1500">
                <a:solidFill>
                  <a:srgbClr val="4B4B4B"/>
                </a:solidFill>
                <a:latin typeface="Roboto Condensed Light" panose="02000000000000000000" pitchFamily="2" charset="0"/>
              </a:defRPr>
            </a:lvl2pPr>
            <a:lvl3pPr>
              <a:defRPr sz="1500">
                <a:solidFill>
                  <a:srgbClr val="4B4B4B"/>
                </a:solidFill>
                <a:latin typeface="Roboto Condensed Light" panose="02000000000000000000" pitchFamily="2" charset="0"/>
              </a:defRPr>
            </a:lvl3pPr>
            <a:lvl4pPr>
              <a:defRPr sz="1500">
                <a:solidFill>
                  <a:srgbClr val="4B4B4B"/>
                </a:solidFill>
                <a:latin typeface="Roboto Condensed Light" panose="02000000000000000000" pitchFamily="2" charset="0"/>
              </a:defRPr>
            </a:lvl4pPr>
            <a:lvl5pPr>
              <a:defRPr sz="1500">
                <a:solidFill>
                  <a:srgbClr val="4B4B4B"/>
                </a:solidFill>
                <a:latin typeface="Roboto Condensed Light" panose="02000000000000000000" pitchFamily="2"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a:extLst>
              <a:ext uri="{FF2B5EF4-FFF2-40B4-BE49-F238E27FC236}">
                <a16:creationId xmlns:a16="http://schemas.microsoft.com/office/drawing/2014/main" id="{FC5C15C3-F5A7-0545-90DA-E2F93B1D238D}"/>
              </a:ext>
            </a:extLst>
          </p:cNvPr>
          <p:cNvSpPr>
            <a:spLocks noGrp="1"/>
          </p:cNvSpPr>
          <p:nvPr>
            <p:ph type="title"/>
          </p:nvPr>
        </p:nvSpPr>
        <p:spPr>
          <a:xfrm>
            <a:off x="805296" y="1091623"/>
            <a:ext cx="7886700" cy="831706"/>
          </a:xfrm>
        </p:spPr>
        <p:txBody>
          <a:bodyPr>
            <a:noAutofit/>
          </a:bodyPr>
          <a:lstStyle>
            <a:lvl1pPr>
              <a:defRPr>
                <a:solidFill>
                  <a:srgbClr val="F6C333"/>
                </a:solidFill>
                <a:latin typeface="Roboto Condensed Light"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18902799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218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7295909" cy="864096"/>
          </a:xfrm>
          <a:prstGeom prst="rect">
            <a:avLst/>
          </a:prstGeom>
        </p:spPr>
        <p:txBody>
          <a:bodyPr/>
          <a:lstStyle>
            <a:lvl1pPr algn="l">
              <a:lnSpc>
                <a:spcPts val="1950"/>
              </a:lnSpc>
              <a:defRPr sz="1800" baseline="0">
                <a:solidFill>
                  <a:schemeClr val="tx1"/>
                </a:solidFill>
                <a:latin typeface="Montserrat SemiBold" panose="00000700000000000000" pitchFamily="2" charset="0"/>
              </a:defRPr>
            </a:lvl1pPr>
          </a:lstStyle>
          <a:p>
            <a:r>
              <a:rPr lang="en-US" dirty="0"/>
              <a:t>Page Header (Georgia, 24pt) </a:t>
            </a:r>
            <a:endParaRPr lang="en-CA" dirty="0"/>
          </a:p>
        </p:txBody>
      </p:sp>
      <p:sp>
        <p:nvSpPr>
          <p:cNvPr id="4" name="TextBox 3">
            <a:extLst>
              <a:ext uri="{FF2B5EF4-FFF2-40B4-BE49-F238E27FC236}">
                <a16:creationId xmlns:a16="http://schemas.microsoft.com/office/drawing/2014/main" id="{C8F62161-3187-4A22-878A-91C8CC6C95B2}"/>
              </a:ext>
            </a:extLst>
          </p:cNvPr>
          <p:cNvSpPr txBox="1"/>
          <p:nvPr userDrawn="1"/>
        </p:nvSpPr>
        <p:spPr>
          <a:xfrm>
            <a:off x="6602156" y="6449569"/>
            <a:ext cx="2578415" cy="92333"/>
          </a:xfrm>
          <a:prstGeom prst="rect">
            <a:avLst/>
          </a:prstGeom>
        </p:spPr>
        <p:txBody>
          <a:bodyPr vert="horz" wrap="square" lIns="0" tIns="0" rIns="68571" bIns="0" rtlCol="0">
            <a:spAutoFit/>
          </a:bodyPr>
          <a:lstStyle/>
          <a:p>
            <a:pPr marL="5775" marR="182207" lvl="0" indent="0" algn="r" defTabSz="415814" rtl="0" eaLnBrk="1" fontAlgn="auto" latinLnBrk="0" hangingPunct="1">
              <a:lnSpc>
                <a:spcPct val="100000"/>
              </a:lnSpc>
              <a:spcBef>
                <a:spcPts val="41"/>
              </a:spcBef>
              <a:spcAft>
                <a:spcPts val="0"/>
              </a:spcAft>
              <a:buClrTx/>
              <a:buSzTx/>
              <a:buFontTx/>
              <a:buNone/>
              <a:tabLst/>
              <a:defRPr/>
            </a:pPr>
            <a:r>
              <a:rPr lang="en-CA" sz="600" spc="-13" dirty="0">
                <a:solidFill>
                  <a:schemeClr val="tx1">
                    <a:lumMod val="50000"/>
                  </a:schemeClr>
                </a:solidFill>
                <a:latin typeface="Exo" panose="02000503000000000000" pitchFamily="2" charset="77"/>
              </a:rPr>
              <a:t>Info-</a:t>
            </a:r>
            <a:r>
              <a:rPr lang="en-CA" sz="600" spc="-77" dirty="0">
                <a:solidFill>
                  <a:schemeClr val="tx1">
                    <a:lumMod val="50000"/>
                  </a:schemeClr>
                </a:solidFill>
                <a:latin typeface="Exo" panose="02000503000000000000" pitchFamily="2" charset="77"/>
              </a:rPr>
              <a:t>T</a:t>
            </a:r>
            <a:r>
              <a:rPr lang="en-CA" sz="600" spc="-11" dirty="0">
                <a:solidFill>
                  <a:schemeClr val="tx1">
                    <a:lumMod val="50000"/>
                  </a:schemeClr>
                </a:solidFill>
                <a:latin typeface="Exo" panose="02000503000000000000" pitchFamily="2" charset="77"/>
              </a:rPr>
              <a:t>ec</a:t>
            </a:r>
            <a:r>
              <a:rPr lang="en-CA" sz="600" spc="4" dirty="0">
                <a:solidFill>
                  <a:schemeClr val="tx1">
                    <a:lumMod val="50000"/>
                  </a:schemeClr>
                </a:solidFill>
                <a:latin typeface="Exo" panose="02000503000000000000" pitchFamily="2" charset="77"/>
              </a:rPr>
              <a:t>h</a:t>
            </a:r>
            <a:r>
              <a:rPr lang="en-CA" sz="600" spc="-29" dirty="0">
                <a:solidFill>
                  <a:schemeClr val="tx1">
                    <a:lumMod val="50000"/>
                  </a:schemeClr>
                </a:solidFill>
                <a:latin typeface="Exo" panose="02000503000000000000" pitchFamily="2" charset="77"/>
              </a:rPr>
              <a:t> </a:t>
            </a:r>
            <a:r>
              <a:rPr lang="en-CA" sz="600" spc="-11" dirty="0">
                <a:solidFill>
                  <a:schemeClr val="tx1">
                    <a:lumMod val="50000"/>
                  </a:schemeClr>
                </a:solidFill>
                <a:latin typeface="Exo" panose="02000503000000000000" pitchFamily="2" charset="77"/>
              </a:rPr>
              <a:t>Researc</a:t>
            </a:r>
            <a:r>
              <a:rPr lang="en-CA" sz="600" spc="4" dirty="0">
                <a:solidFill>
                  <a:schemeClr val="tx1">
                    <a:lumMod val="50000"/>
                  </a:schemeClr>
                </a:solidFill>
                <a:latin typeface="Exo" panose="02000503000000000000" pitchFamily="2" charset="77"/>
              </a:rPr>
              <a:t>h</a:t>
            </a:r>
            <a:r>
              <a:rPr lang="en-CA" sz="600" spc="-29" dirty="0">
                <a:solidFill>
                  <a:schemeClr val="tx1">
                    <a:lumMod val="50000"/>
                  </a:schemeClr>
                </a:solidFill>
                <a:latin typeface="Exo" panose="02000503000000000000" pitchFamily="2" charset="77"/>
              </a:rPr>
              <a:t> </a:t>
            </a:r>
            <a:r>
              <a:rPr lang="en-CA" sz="600" spc="-11" dirty="0">
                <a:solidFill>
                  <a:schemeClr val="tx1">
                    <a:lumMod val="50000"/>
                  </a:schemeClr>
                </a:solidFill>
                <a:latin typeface="Exo" panose="02000503000000000000" pitchFamily="2" charset="77"/>
              </a:rPr>
              <a:t>Grou</a:t>
            </a:r>
            <a:r>
              <a:rPr lang="en-CA" sz="600" spc="4" dirty="0">
                <a:solidFill>
                  <a:schemeClr val="tx1">
                    <a:lumMod val="50000"/>
                  </a:schemeClr>
                </a:solidFill>
                <a:latin typeface="Exo" panose="02000503000000000000" pitchFamily="2" charset="77"/>
              </a:rPr>
              <a:t>p   |   </a:t>
            </a:r>
            <a:fld id="{81D60167-4931-47E6-BA6A-407CBD079E47}" type="slidenum">
              <a:rPr lang="en-CA" sz="600" spc="4" smtClean="0">
                <a:solidFill>
                  <a:schemeClr val="tx1">
                    <a:lumMod val="50000"/>
                  </a:schemeClr>
                </a:solidFill>
                <a:latin typeface="Exo" panose="02000503000000000000" pitchFamily="2" charset="77"/>
                <a:cs typeface="Arial" panose="020B0604020202020204" pitchFamily="34" charset="0"/>
              </a:rPr>
              <a:pPr marL="5775" marR="182207" lvl="0" indent="0" algn="r" defTabSz="415814" rtl="0" eaLnBrk="1" fontAlgn="auto" latinLnBrk="0" hangingPunct="1">
                <a:lnSpc>
                  <a:spcPct val="100000"/>
                </a:lnSpc>
                <a:spcBef>
                  <a:spcPts val="41"/>
                </a:spcBef>
                <a:spcAft>
                  <a:spcPts val="0"/>
                </a:spcAft>
                <a:buClrTx/>
                <a:buSzTx/>
                <a:buFontTx/>
                <a:buNone/>
                <a:tabLst/>
                <a:defRPr/>
              </a:pPr>
              <a:t>‹#›</a:t>
            </a:fld>
            <a:endParaRPr sz="600" spc="4" dirty="0">
              <a:solidFill>
                <a:schemeClr val="tx1">
                  <a:lumMod val="50000"/>
                </a:schemeClr>
              </a:solidFill>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1815765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etails Bullets Blue 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3B516A-EFFC-6246-AECE-1B5BAC3B0EDB}"/>
              </a:ext>
            </a:extLst>
          </p:cNvPr>
          <p:cNvSpPr>
            <a:spLocks noGrp="1"/>
          </p:cNvSpPr>
          <p:nvPr>
            <p:ph idx="1"/>
          </p:nvPr>
        </p:nvSpPr>
        <p:spPr>
          <a:xfrm>
            <a:off x="805297" y="2493820"/>
            <a:ext cx="2280804" cy="404127"/>
          </a:xfrm>
        </p:spPr>
        <p:txBody>
          <a:bodyPr>
            <a:noAutofit/>
          </a:bodyPr>
          <a:lstStyle>
            <a:lvl1pPr marL="0" indent="0">
              <a:lnSpc>
                <a:spcPts val="2250"/>
              </a:lnSpc>
              <a:buNone/>
              <a:defRPr sz="1950" b="0">
                <a:solidFill>
                  <a:schemeClr val="bg1"/>
                </a:solidFill>
                <a:latin typeface="Roboto Condensed Light" panose="02000000000000000000" pitchFamily="2" charset="0"/>
              </a:defRPr>
            </a:lvl1pPr>
            <a:lvl2pPr>
              <a:defRPr sz="1800">
                <a:solidFill>
                  <a:schemeClr val="bg1"/>
                </a:solidFill>
              </a:defRPr>
            </a:lvl2pPr>
            <a:lvl3pPr>
              <a:defRPr>
                <a:solidFill>
                  <a:schemeClr val="bg1"/>
                </a:solidFill>
              </a:defRPr>
            </a:lvl3pPr>
            <a:lvl4pPr>
              <a:defRPr>
                <a:solidFill>
                  <a:schemeClr val="bg1"/>
                </a:solidFill>
              </a:defRPr>
            </a:lvl4pPr>
            <a:lvl5pPr>
              <a:defRPr sz="1200">
                <a:solidFill>
                  <a:schemeClr val="bg1"/>
                </a:solidFill>
              </a:defRPr>
            </a:lvl5pPr>
          </a:lstStyle>
          <a:p>
            <a:pPr lvl="0"/>
            <a:r>
              <a:rPr lang="en-US" dirty="0"/>
              <a:t>Edit Master text styles</a:t>
            </a:r>
          </a:p>
        </p:txBody>
      </p:sp>
      <p:sp>
        <p:nvSpPr>
          <p:cNvPr id="9" name="Title 1">
            <a:extLst>
              <a:ext uri="{FF2B5EF4-FFF2-40B4-BE49-F238E27FC236}">
                <a16:creationId xmlns:a16="http://schemas.microsoft.com/office/drawing/2014/main" id="{FC5C15C3-F5A7-0545-90DA-E2F93B1D238D}"/>
              </a:ext>
            </a:extLst>
          </p:cNvPr>
          <p:cNvSpPr>
            <a:spLocks noGrp="1"/>
          </p:cNvSpPr>
          <p:nvPr>
            <p:ph type="title"/>
          </p:nvPr>
        </p:nvSpPr>
        <p:spPr>
          <a:xfrm>
            <a:off x="805297" y="1091623"/>
            <a:ext cx="2335573" cy="1074802"/>
          </a:xfrm>
        </p:spPr>
        <p:txBody>
          <a:bodyPr>
            <a:noAutofit/>
          </a:bodyPr>
          <a:lstStyle>
            <a:lvl1pPr>
              <a:defRPr>
                <a:solidFill>
                  <a:schemeClr val="accent5">
                    <a:lumMod val="60000"/>
                    <a:lumOff val="40000"/>
                  </a:schemeClr>
                </a:solidFill>
                <a:latin typeface="Roboto Condensed Light" panose="02000000000000000000" pitchFamily="2" charset="0"/>
              </a:defRPr>
            </a:lvl1pPr>
          </a:lstStyle>
          <a:p>
            <a:r>
              <a:rPr lang="en-US" dirty="0"/>
              <a:t>Click to edit Master title style</a:t>
            </a:r>
          </a:p>
        </p:txBody>
      </p:sp>
      <p:sp>
        <p:nvSpPr>
          <p:cNvPr id="7" name="Content Placeholder 2">
            <a:extLst>
              <a:ext uri="{FF2B5EF4-FFF2-40B4-BE49-F238E27FC236}">
                <a16:creationId xmlns:a16="http://schemas.microsoft.com/office/drawing/2014/main" id="{0281A037-674F-FE4F-9071-1020A9CFA142}"/>
              </a:ext>
            </a:extLst>
          </p:cNvPr>
          <p:cNvSpPr>
            <a:spLocks noGrp="1"/>
          </p:cNvSpPr>
          <p:nvPr>
            <p:ph idx="13"/>
          </p:nvPr>
        </p:nvSpPr>
        <p:spPr>
          <a:xfrm>
            <a:off x="4437460" y="1684832"/>
            <a:ext cx="3887390" cy="347643"/>
          </a:xfrm>
        </p:spPr>
        <p:txBody>
          <a:bodyPr>
            <a:noAutofit/>
          </a:bodyPr>
          <a:lstStyle>
            <a:lvl1pPr marL="0" indent="0">
              <a:lnSpc>
                <a:spcPts val="2250"/>
              </a:lnSpc>
              <a:buNone/>
              <a:defRPr sz="1950" b="1">
                <a:solidFill>
                  <a:srgbClr val="717272"/>
                </a:solidFill>
                <a:latin typeface="Roboto Condensed Light" panose="02000000000000000000" pitchFamily="2" charset="0"/>
              </a:defRPr>
            </a:lvl1pPr>
            <a:lvl2pPr>
              <a:defRPr sz="1800">
                <a:solidFill>
                  <a:srgbClr val="4B4B4B"/>
                </a:solidFill>
              </a:defRPr>
            </a:lvl2pPr>
            <a:lvl3pPr>
              <a:defRPr>
                <a:solidFill>
                  <a:srgbClr val="4B4B4B"/>
                </a:solidFill>
              </a:defRPr>
            </a:lvl3pPr>
            <a:lvl4pPr>
              <a:defRPr>
                <a:solidFill>
                  <a:srgbClr val="4B4B4B"/>
                </a:solidFill>
              </a:defRPr>
            </a:lvl4pPr>
            <a:lvl5pPr>
              <a:defRPr sz="1200">
                <a:solidFill>
                  <a:srgbClr val="4B4B4B"/>
                </a:solidFill>
              </a:defRPr>
            </a:lvl5pPr>
          </a:lstStyle>
          <a:p>
            <a:pPr lvl="0"/>
            <a:r>
              <a:rPr lang="en-US" dirty="0"/>
              <a:t>Edit Master text styles</a:t>
            </a:r>
          </a:p>
        </p:txBody>
      </p:sp>
      <p:sp>
        <p:nvSpPr>
          <p:cNvPr id="10" name="Content Placeholder 2">
            <a:extLst>
              <a:ext uri="{FF2B5EF4-FFF2-40B4-BE49-F238E27FC236}">
                <a16:creationId xmlns:a16="http://schemas.microsoft.com/office/drawing/2014/main" id="{55054C49-4611-9D41-8E71-FB537CB85AD6}"/>
              </a:ext>
            </a:extLst>
          </p:cNvPr>
          <p:cNvSpPr>
            <a:spLocks noGrp="1"/>
          </p:cNvSpPr>
          <p:nvPr>
            <p:ph idx="14"/>
          </p:nvPr>
        </p:nvSpPr>
        <p:spPr>
          <a:xfrm>
            <a:off x="4437460" y="2120932"/>
            <a:ext cx="3887390" cy="755604"/>
          </a:xfrm>
        </p:spPr>
        <p:txBody>
          <a:bodyPr>
            <a:noAutofit/>
          </a:bodyPr>
          <a:lstStyle>
            <a:lvl1pPr marL="128570" indent="-128570">
              <a:lnSpc>
                <a:spcPts val="1950"/>
              </a:lnSpc>
              <a:buFont typeface="Arial" panose="020B0604020202020204" pitchFamily="34" charset="0"/>
              <a:buChar char="•"/>
              <a:defRPr sz="1500" b="0" i="0">
                <a:solidFill>
                  <a:srgbClr val="4B4B4B"/>
                </a:solidFill>
                <a:latin typeface="Roboto Light" panose="02000000000000000000" pitchFamily="2" charset="0"/>
                <a:ea typeface="Roboto Light" panose="02000000000000000000" pitchFamily="2" charset="0"/>
              </a:defRPr>
            </a:lvl1pPr>
            <a:lvl2pPr>
              <a:defRPr sz="1800">
                <a:solidFill>
                  <a:srgbClr val="4B4B4B"/>
                </a:solidFill>
              </a:defRPr>
            </a:lvl2pPr>
            <a:lvl3pPr>
              <a:defRPr>
                <a:solidFill>
                  <a:srgbClr val="4B4B4B"/>
                </a:solidFill>
              </a:defRPr>
            </a:lvl3pPr>
            <a:lvl4pPr>
              <a:defRPr>
                <a:solidFill>
                  <a:srgbClr val="4B4B4B"/>
                </a:solidFill>
              </a:defRPr>
            </a:lvl4pPr>
            <a:lvl5pPr>
              <a:defRPr sz="1200">
                <a:solidFill>
                  <a:srgbClr val="4B4B4B"/>
                </a:solidFill>
              </a:defRPr>
            </a:lvl5pPr>
          </a:lstStyle>
          <a:p>
            <a:pPr lvl="0"/>
            <a:r>
              <a:rPr lang="en-US"/>
              <a:t>Edit Master text styles</a:t>
            </a:r>
          </a:p>
        </p:txBody>
      </p:sp>
      <p:sp>
        <p:nvSpPr>
          <p:cNvPr id="11" name="Content Placeholder 2">
            <a:extLst>
              <a:ext uri="{FF2B5EF4-FFF2-40B4-BE49-F238E27FC236}">
                <a16:creationId xmlns:a16="http://schemas.microsoft.com/office/drawing/2014/main" id="{9CF9257C-AE5B-0A41-BE56-A4613668EB45}"/>
              </a:ext>
            </a:extLst>
          </p:cNvPr>
          <p:cNvSpPr>
            <a:spLocks noGrp="1"/>
          </p:cNvSpPr>
          <p:nvPr>
            <p:ph idx="15"/>
          </p:nvPr>
        </p:nvSpPr>
        <p:spPr>
          <a:xfrm>
            <a:off x="4437460" y="3330753"/>
            <a:ext cx="3887390" cy="347643"/>
          </a:xfrm>
        </p:spPr>
        <p:txBody>
          <a:bodyPr>
            <a:noAutofit/>
          </a:bodyPr>
          <a:lstStyle>
            <a:lvl1pPr marL="0" indent="0">
              <a:lnSpc>
                <a:spcPts val="2250"/>
              </a:lnSpc>
              <a:buNone/>
              <a:defRPr sz="1950" b="1">
                <a:solidFill>
                  <a:srgbClr val="717272"/>
                </a:solidFill>
                <a:latin typeface="Roboto Condensed Light" panose="02000000000000000000" pitchFamily="2" charset="0"/>
              </a:defRPr>
            </a:lvl1pPr>
            <a:lvl2pPr>
              <a:defRPr sz="1800">
                <a:solidFill>
                  <a:srgbClr val="4B4B4B"/>
                </a:solidFill>
              </a:defRPr>
            </a:lvl2pPr>
            <a:lvl3pPr>
              <a:defRPr>
                <a:solidFill>
                  <a:srgbClr val="4B4B4B"/>
                </a:solidFill>
              </a:defRPr>
            </a:lvl3pPr>
            <a:lvl4pPr>
              <a:defRPr>
                <a:solidFill>
                  <a:srgbClr val="4B4B4B"/>
                </a:solidFill>
              </a:defRPr>
            </a:lvl4pPr>
            <a:lvl5pPr>
              <a:defRPr sz="1200">
                <a:solidFill>
                  <a:srgbClr val="4B4B4B"/>
                </a:solidFill>
              </a:defRPr>
            </a:lvl5pPr>
          </a:lstStyle>
          <a:p>
            <a:pPr lvl="0"/>
            <a:r>
              <a:rPr lang="en-US" dirty="0"/>
              <a:t>Edit Master text styles</a:t>
            </a:r>
          </a:p>
        </p:txBody>
      </p:sp>
      <p:sp>
        <p:nvSpPr>
          <p:cNvPr id="12" name="Content Placeholder 2">
            <a:extLst>
              <a:ext uri="{FF2B5EF4-FFF2-40B4-BE49-F238E27FC236}">
                <a16:creationId xmlns:a16="http://schemas.microsoft.com/office/drawing/2014/main" id="{10BCE330-099B-1441-A906-D83354D44FE3}"/>
              </a:ext>
            </a:extLst>
          </p:cNvPr>
          <p:cNvSpPr>
            <a:spLocks noGrp="1"/>
          </p:cNvSpPr>
          <p:nvPr>
            <p:ph idx="16"/>
          </p:nvPr>
        </p:nvSpPr>
        <p:spPr>
          <a:xfrm>
            <a:off x="4437460" y="3766852"/>
            <a:ext cx="3887390" cy="755604"/>
          </a:xfrm>
        </p:spPr>
        <p:txBody>
          <a:bodyPr>
            <a:noAutofit/>
          </a:bodyPr>
          <a:lstStyle>
            <a:lvl1pPr marL="128570" indent="-128570">
              <a:lnSpc>
                <a:spcPts val="1950"/>
              </a:lnSpc>
              <a:buFont typeface="Arial" panose="020B0604020202020204" pitchFamily="34" charset="0"/>
              <a:buChar char="•"/>
              <a:defRPr sz="1500" b="0" i="0">
                <a:solidFill>
                  <a:srgbClr val="4B4B4B"/>
                </a:solidFill>
                <a:latin typeface="Roboto Light" panose="02000000000000000000" pitchFamily="2" charset="0"/>
                <a:ea typeface="Roboto Light" panose="02000000000000000000" pitchFamily="2" charset="0"/>
              </a:defRPr>
            </a:lvl1pPr>
            <a:lvl2pPr>
              <a:defRPr sz="1800">
                <a:solidFill>
                  <a:srgbClr val="4B4B4B"/>
                </a:solidFill>
              </a:defRPr>
            </a:lvl2pPr>
            <a:lvl3pPr>
              <a:defRPr>
                <a:solidFill>
                  <a:srgbClr val="4B4B4B"/>
                </a:solidFill>
              </a:defRPr>
            </a:lvl3pPr>
            <a:lvl4pPr>
              <a:defRPr>
                <a:solidFill>
                  <a:srgbClr val="4B4B4B"/>
                </a:solidFill>
              </a:defRPr>
            </a:lvl4pPr>
            <a:lvl5pPr>
              <a:defRPr sz="1200">
                <a:solidFill>
                  <a:srgbClr val="4B4B4B"/>
                </a:solidFill>
              </a:defRPr>
            </a:lvl5pPr>
          </a:lstStyle>
          <a:p>
            <a:pPr lvl="0"/>
            <a:r>
              <a:rPr lang="en-US"/>
              <a:t>Edit Master text styles</a:t>
            </a:r>
          </a:p>
        </p:txBody>
      </p:sp>
      <p:sp>
        <p:nvSpPr>
          <p:cNvPr id="15" name="Content Placeholder 2">
            <a:extLst>
              <a:ext uri="{FF2B5EF4-FFF2-40B4-BE49-F238E27FC236}">
                <a16:creationId xmlns:a16="http://schemas.microsoft.com/office/drawing/2014/main" id="{E366533B-36C1-D544-8877-9122C0AAFA21}"/>
              </a:ext>
            </a:extLst>
          </p:cNvPr>
          <p:cNvSpPr>
            <a:spLocks noGrp="1"/>
          </p:cNvSpPr>
          <p:nvPr>
            <p:ph idx="19"/>
          </p:nvPr>
        </p:nvSpPr>
        <p:spPr>
          <a:xfrm>
            <a:off x="805297" y="3003189"/>
            <a:ext cx="2280804" cy="2891174"/>
          </a:xfrm>
        </p:spPr>
        <p:txBody>
          <a:bodyPr>
            <a:noAutofit/>
          </a:bodyPr>
          <a:lstStyle>
            <a:lvl1pPr marL="0" indent="0">
              <a:lnSpc>
                <a:spcPts val="1950"/>
              </a:lnSpc>
              <a:buNone/>
              <a:defRPr sz="1500" b="0" i="0">
                <a:solidFill>
                  <a:schemeClr val="bg1"/>
                </a:solidFill>
                <a:latin typeface="Roboto Light" panose="02000000000000000000" pitchFamily="2" charset="0"/>
                <a:ea typeface="Roboto Light" panose="02000000000000000000" pitchFamily="2" charset="0"/>
              </a:defRPr>
            </a:lvl1pPr>
            <a:lvl2pPr>
              <a:defRPr sz="1800">
                <a:solidFill>
                  <a:schemeClr val="bg1"/>
                </a:solidFill>
              </a:defRPr>
            </a:lvl2pPr>
            <a:lvl3pPr>
              <a:defRPr>
                <a:solidFill>
                  <a:schemeClr val="bg1"/>
                </a:solidFill>
              </a:defRPr>
            </a:lvl3pPr>
            <a:lvl4pPr>
              <a:defRPr>
                <a:solidFill>
                  <a:schemeClr val="bg1"/>
                </a:solidFill>
              </a:defRPr>
            </a:lvl4pPr>
            <a:lvl5pPr>
              <a:defRPr sz="1200">
                <a:solidFill>
                  <a:schemeClr val="bg1"/>
                </a:solidFill>
              </a:defRPr>
            </a:lvl5pPr>
          </a:lstStyle>
          <a:p>
            <a:pPr lvl="0"/>
            <a:r>
              <a:rPr lang="en-US"/>
              <a:t>Edit Master text styles</a:t>
            </a:r>
          </a:p>
        </p:txBody>
      </p:sp>
      <p:sp>
        <p:nvSpPr>
          <p:cNvPr id="14" name="Rectangle 13">
            <a:extLst>
              <a:ext uri="{FF2B5EF4-FFF2-40B4-BE49-F238E27FC236}">
                <a16:creationId xmlns:a16="http://schemas.microsoft.com/office/drawing/2014/main" id="{6C046336-D53C-4B21-8D60-464EAB4E6C7C}"/>
              </a:ext>
            </a:extLst>
          </p:cNvPr>
          <p:cNvSpPr/>
          <p:nvPr userDrawn="1"/>
        </p:nvSpPr>
        <p:spPr>
          <a:xfrm>
            <a:off x="596" y="449"/>
            <a:ext cx="3401067" cy="6857107"/>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5772" rtl="0" eaLnBrk="1" fontAlgn="auto" latinLnBrk="0" hangingPunct="1">
              <a:lnSpc>
                <a:spcPct val="100000"/>
              </a:lnSpc>
              <a:spcBef>
                <a:spcPts val="0"/>
              </a:spcBef>
              <a:spcAft>
                <a:spcPts val="0"/>
              </a:spcAft>
              <a:buClrTx/>
              <a:buSzTx/>
              <a:buFontTx/>
              <a:buNone/>
              <a:tabLst/>
              <a:defRPr/>
            </a:pPr>
            <a:endParaRPr kumimoji="0" lang="en-US" sz="819" b="0" i="0" u="none" strike="noStrike" kern="1200" cap="none" spc="0" normalizeH="0" baseline="0" noProof="0" dirty="0">
              <a:ln>
                <a:noFill/>
              </a:ln>
              <a:solidFill>
                <a:srgbClr val="FFFFFF"/>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27662675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idebar right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C5C15C3-F5A7-0545-90DA-E2F93B1D238D}"/>
              </a:ext>
            </a:extLst>
          </p:cNvPr>
          <p:cNvSpPr>
            <a:spLocks noGrp="1"/>
          </p:cNvSpPr>
          <p:nvPr>
            <p:ph type="title"/>
          </p:nvPr>
        </p:nvSpPr>
        <p:spPr>
          <a:xfrm>
            <a:off x="791767" y="1091623"/>
            <a:ext cx="3631622" cy="831706"/>
          </a:xfrm>
        </p:spPr>
        <p:txBody>
          <a:bodyPr>
            <a:noAutofit/>
          </a:bodyPr>
          <a:lstStyle>
            <a:lvl1pPr>
              <a:defRPr>
                <a:solidFill>
                  <a:srgbClr val="F6C333"/>
                </a:solidFill>
                <a:latin typeface="Roboto Condensed Light" panose="02000000000000000000" pitchFamily="2" charset="0"/>
              </a:defRPr>
            </a:lvl1pPr>
          </a:lstStyle>
          <a:p>
            <a:r>
              <a:rPr lang="en-US" dirty="0"/>
              <a:t>Click to edit Master title style</a:t>
            </a:r>
          </a:p>
        </p:txBody>
      </p:sp>
      <p:sp>
        <p:nvSpPr>
          <p:cNvPr id="7" name="Content Placeholder 2">
            <a:extLst>
              <a:ext uri="{FF2B5EF4-FFF2-40B4-BE49-F238E27FC236}">
                <a16:creationId xmlns:a16="http://schemas.microsoft.com/office/drawing/2014/main" id="{0281A037-674F-FE4F-9071-1020A9CFA142}"/>
              </a:ext>
            </a:extLst>
          </p:cNvPr>
          <p:cNvSpPr>
            <a:spLocks noGrp="1"/>
          </p:cNvSpPr>
          <p:nvPr>
            <p:ph idx="13"/>
          </p:nvPr>
        </p:nvSpPr>
        <p:spPr>
          <a:xfrm>
            <a:off x="6904495" y="1194898"/>
            <a:ext cx="1730350" cy="1038152"/>
          </a:xfrm>
        </p:spPr>
        <p:txBody>
          <a:bodyPr>
            <a:noAutofit/>
          </a:bodyPr>
          <a:lstStyle>
            <a:lvl1pPr marL="0" indent="0">
              <a:lnSpc>
                <a:spcPts val="2250"/>
              </a:lnSpc>
              <a:buNone/>
              <a:defRPr sz="1950">
                <a:solidFill>
                  <a:schemeClr val="accent5">
                    <a:lumMod val="60000"/>
                    <a:lumOff val="40000"/>
                  </a:schemeClr>
                </a:solidFill>
                <a:latin typeface="Roboto Condensed Light" panose="02000000000000000000" pitchFamily="2" charset="0"/>
              </a:defRPr>
            </a:lvl1pPr>
            <a:lvl2pPr>
              <a:defRPr sz="2100">
                <a:solidFill>
                  <a:schemeClr val="accent5">
                    <a:lumMod val="60000"/>
                    <a:lumOff val="40000"/>
                  </a:schemeClr>
                </a:solidFill>
              </a:defRPr>
            </a:lvl2pPr>
            <a:lvl3pPr>
              <a:defRPr sz="2100">
                <a:solidFill>
                  <a:schemeClr val="accent5">
                    <a:lumMod val="60000"/>
                    <a:lumOff val="40000"/>
                  </a:schemeClr>
                </a:solidFill>
              </a:defRPr>
            </a:lvl3pPr>
            <a:lvl4pPr>
              <a:defRPr sz="2100">
                <a:solidFill>
                  <a:schemeClr val="accent5">
                    <a:lumMod val="60000"/>
                    <a:lumOff val="40000"/>
                  </a:schemeClr>
                </a:solidFill>
              </a:defRPr>
            </a:lvl4pPr>
            <a:lvl5pPr>
              <a:defRPr sz="2100">
                <a:solidFill>
                  <a:schemeClr val="accent5">
                    <a:lumMod val="60000"/>
                    <a:lumOff val="40000"/>
                  </a:schemeClr>
                </a:solidFill>
              </a:defRPr>
            </a:lvl5pPr>
          </a:lstStyle>
          <a:p>
            <a:pPr lvl="0"/>
            <a:r>
              <a:rPr lang="en-US" dirty="0"/>
              <a:t>Edit Master text styles</a:t>
            </a:r>
          </a:p>
        </p:txBody>
      </p:sp>
      <p:sp>
        <p:nvSpPr>
          <p:cNvPr id="12" name="Content Placeholder 2">
            <a:extLst>
              <a:ext uri="{FF2B5EF4-FFF2-40B4-BE49-F238E27FC236}">
                <a16:creationId xmlns:a16="http://schemas.microsoft.com/office/drawing/2014/main" id="{531B33A8-45A8-D247-8028-E9FE966C1570}"/>
              </a:ext>
            </a:extLst>
          </p:cNvPr>
          <p:cNvSpPr>
            <a:spLocks noGrp="1"/>
          </p:cNvSpPr>
          <p:nvPr>
            <p:ph idx="1"/>
          </p:nvPr>
        </p:nvSpPr>
        <p:spPr>
          <a:xfrm>
            <a:off x="799485" y="3516710"/>
            <a:ext cx="3631622" cy="381118"/>
          </a:xfrm>
        </p:spPr>
        <p:txBody>
          <a:bodyPr>
            <a:noAutofit/>
          </a:bodyPr>
          <a:lstStyle>
            <a:lvl1pPr marL="0" indent="0">
              <a:lnSpc>
                <a:spcPts val="2250"/>
              </a:lnSpc>
              <a:buNone/>
              <a:defRPr sz="1950" b="1">
                <a:solidFill>
                  <a:srgbClr val="717272"/>
                </a:solidFill>
                <a:latin typeface="Roboto Condensed Light" panose="02000000000000000000" pitchFamily="2" charset="0"/>
              </a:defRPr>
            </a:lvl1pPr>
            <a:lvl2pPr>
              <a:defRPr sz="1800">
                <a:solidFill>
                  <a:srgbClr val="4B4B4B"/>
                </a:solidFill>
              </a:defRPr>
            </a:lvl2pPr>
            <a:lvl3pPr>
              <a:defRPr>
                <a:solidFill>
                  <a:srgbClr val="4B4B4B"/>
                </a:solidFill>
              </a:defRPr>
            </a:lvl3pPr>
            <a:lvl4pPr>
              <a:defRPr>
                <a:solidFill>
                  <a:srgbClr val="4B4B4B"/>
                </a:solidFill>
              </a:defRPr>
            </a:lvl4pPr>
            <a:lvl5pPr>
              <a:defRPr sz="1200">
                <a:solidFill>
                  <a:srgbClr val="4B4B4B"/>
                </a:solidFill>
              </a:defRPr>
            </a:lvl5pPr>
          </a:lstStyle>
          <a:p>
            <a:pPr lvl="0"/>
            <a:r>
              <a:rPr lang="en-US" dirty="0"/>
              <a:t>Edit Master text styles</a:t>
            </a:r>
          </a:p>
        </p:txBody>
      </p:sp>
      <p:sp>
        <p:nvSpPr>
          <p:cNvPr id="13" name="Content Placeholder 2">
            <a:extLst>
              <a:ext uri="{FF2B5EF4-FFF2-40B4-BE49-F238E27FC236}">
                <a16:creationId xmlns:a16="http://schemas.microsoft.com/office/drawing/2014/main" id="{581CEF2B-85C8-8C41-B675-9315DC899DBC}"/>
              </a:ext>
            </a:extLst>
          </p:cNvPr>
          <p:cNvSpPr>
            <a:spLocks noGrp="1"/>
          </p:cNvSpPr>
          <p:nvPr>
            <p:ph idx="14"/>
          </p:nvPr>
        </p:nvSpPr>
        <p:spPr>
          <a:xfrm>
            <a:off x="799485" y="4090146"/>
            <a:ext cx="3631622" cy="2075704"/>
          </a:xfrm>
        </p:spPr>
        <p:txBody>
          <a:bodyPr>
            <a:noAutofit/>
          </a:bodyPr>
          <a:lstStyle>
            <a:lvl1pPr marL="0" indent="0">
              <a:lnSpc>
                <a:spcPts val="1950"/>
              </a:lnSpc>
              <a:buNone/>
              <a:defRPr sz="1500" b="0" i="0">
                <a:solidFill>
                  <a:srgbClr val="717272"/>
                </a:solidFill>
                <a:latin typeface="Roboto Light" panose="02000000000000000000" pitchFamily="2" charset="0"/>
                <a:ea typeface="Roboto Light" panose="02000000000000000000" pitchFamily="2" charset="0"/>
              </a:defRPr>
            </a:lvl1pPr>
            <a:lvl2pPr>
              <a:defRPr sz="1800">
                <a:solidFill>
                  <a:srgbClr val="4B4B4B"/>
                </a:solidFill>
              </a:defRPr>
            </a:lvl2pPr>
            <a:lvl3pPr>
              <a:defRPr>
                <a:solidFill>
                  <a:srgbClr val="4B4B4B"/>
                </a:solidFill>
              </a:defRPr>
            </a:lvl3pPr>
            <a:lvl4pPr>
              <a:defRPr>
                <a:solidFill>
                  <a:srgbClr val="4B4B4B"/>
                </a:solidFill>
              </a:defRPr>
            </a:lvl4pPr>
            <a:lvl5pPr>
              <a:defRPr sz="1200">
                <a:solidFill>
                  <a:srgbClr val="4B4B4B"/>
                </a:solidFill>
              </a:defRPr>
            </a:lvl5pPr>
          </a:lstStyle>
          <a:p>
            <a:pPr lvl="0"/>
            <a:r>
              <a:rPr lang="en-US"/>
              <a:t>Edit Master text styles</a:t>
            </a:r>
          </a:p>
        </p:txBody>
      </p:sp>
      <p:sp>
        <p:nvSpPr>
          <p:cNvPr id="17" name="Content Placeholder 2">
            <a:extLst>
              <a:ext uri="{FF2B5EF4-FFF2-40B4-BE49-F238E27FC236}">
                <a16:creationId xmlns:a16="http://schemas.microsoft.com/office/drawing/2014/main" id="{6C05EF13-AEEB-4841-8745-2C8699FF8473}"/>
              </a:ext>
            </a:extLst>
          </p:cNvPr>
          <p:cNvSpPr>
            <a:spLocks noGrp="1"/>
          </p:cNvSpPr>
          <p:nvPr>
            <p:ph idx="15"/>
          </p:nvPr>
        </p:nvSpPr>
        <p:spPr>
          <a:xfrm>
            <a:off x="6904495" y="1813700"/>
            <a:ext cx="1730350" cy="2693297"/>
          </a:xfrm>
        </p:spPr>
        <p:txBody>
          <a:bodyPr>
            <a:noAutofit/>
          </a:bodyPr>
          <a:lstStyle>
            <a:lvl1pPr marL="0" indent="0">
              <a:lnSpc>
                <a:spcPts val="1950"/>
              </a:lnSpc>
              <a:spcAft>
                <a:spcPts val="1875"/>
              </a:spcAft>
              <a:buNone/>
              <a:defRPr sz="1500" b="0" i="0">
                <a:solidFill>
                  <a:schemeClr val="bg1"/>
                </a:solidFill>
                <a:latin typeface="Roboto" panose="02000000000000000000" pitchFamily="2" charset="0"/>
                <a:ea typeface="Roboto" panose="02000000000000000000" pitchFamily="2" charset="0"/>
              </a:defRPr>
            </a:lvl1pPr>
            <a:lvl2pPr>
              <a:lnSpc>
                <a:spcPts val="1950"/>
              </a:lnSpc>
              <a:spcAft>
                <a:spcPts val="1875"/>
              </a:spcAft>
              <a:defRPr sz="1500" b="0" i="0">
                <a:solidFill>
                  <a:schemeClr val="bg1"/>
                </a:solidFill>
                <a:latin typeface="Roboto" panose="02000000000000000000" pitchFamily="2" charset="0"/>
                <a:ea typeface="Roboto" panose="02000000000000000000" pitchFamily="2" charset="0"/>
              </a:defRPr>
            </a:lvl2pPr>
            <a:lvl3pPr>
              <a:lnSpc>
                <a:spcPts val="1950"/>
              </a:lnSpc>
              <a:spcAft>
                <a:spcPts val="1875"/>
              </a:spcAft>
              <a:defRPr sz="1500" b="0" i="0">
                <a:solidFill>
                  <a:schemeClr val="bg1"/>
                </a:solidFill>
                <a:latin typeface="Roboto" panose="02000000000000000000" pitchFamily="2" charset="0"/>
                <a:ea typeface="Roboto" panose="02000000000000000000" pitchFamily="2" charset="0"/>
              </a:defRPr>
            </a:lvl3pPr>
            <a:lvl4pPr>
              <a:lnSpc>
                <a:spcPts val="1950"/>
              </a:lnSpc>
              <a:spcAft>
                <a:spcPts val="1875"/>
              </a:spcAft>
              <a:defRPr sz="1500" b="0" i="0">
                <a:solidFill>
                  <a:schemeClr val="bg1"/>
                </a:solidFill>
                <a:latin typeface="Roboto" panose="02000000000000000000" pitchFamily="2" charset="0"/>
                <a:ea typeface="Roboto" panose="02000000000000000000" pitchFamily="2" charset="0"/>
              </a:defRPr>
            </a:lvl4pPr>
            <a:lvl5pPr>
              <a:lnSpc>
                <a:spcPts val="1950"/>
              </a:lnSpc>
              <a:spcAft>
                <a:spcPts val="1875"/>
              </a:spcAft>
              <a:defRPr sz="1500" b="0" i="0">
                <a:solidFill>
                  <a:schemeClr val="bg1"/>
                </a:solidFill>
                <a:latin typeface="Roboto" panose="02000000000000000000" pitchFamily="2" charset="0"/>
                <a:ea typeface="Roboto" panose="02000000000000000000" pitchFamily="2"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F3CC3606-E042-495C-87C5-CA98BDD2B589}"/>
              </a:ext>
            </a:extLst>
          </p:cNvPr>
          <p:cNvSpPr/>
          <p:nvPr userDrawn="1"/>
        </p:nvSpPr>
        <p:spPr>
          <a:xfrm>
            <a:off x="5742933" y="1"/>
            <a:ext cx="3401067" cy="6857107"/>
          </a:xfrm>
          <a:prstGeom prst="rect">
            <a:avLst/>
          </a:prstGeom>
          <a:gradFill>
            <a:gsLst>
              <a:gs pos="0">
                <a:schemeClr val="accent1">
                  <a:lumMod val="60000"/>
                  <a:lumOff val="40000"/>
                </a:schemeClr>
              </a:gs>
              <a:gs pos="89000">
                <a:srgbClr val="2576B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15772" rtl="0" eaLnBrk="1" fontAlgn="auto" latinLnBrk="0" hangingPunct="1">
              <a:lnSpc>
                <a:spcPct val="100000"/>
              </a:lnSpc>
              <a:spcBef>
                <a:spcPts val="0"/>
              </a:spcBef>
              <a:spcAft>
                <a:spcPts val="0"/>
              </a:spcAft>
              <a:buClrTx/>
              <a:buSzTx/>
              <a:buFontTx/>
              <a:buNone/>
              <a:tabLst/>
              <a:defRPr/>
            </a:pPr>
            <a:endParaRPr kumimoji="0" lang="en-US" sz="819" b="0" i="0" u="none" strike="noStrike" kern="1200" cap="none" spc="0" normalizeH="0" baseline="0" noProof="0" dirty="0">
              <a:ln>
                <a:noFill/>
              </a:ln>
              <a:solidFill>
                <a:srgbClr val="FFFFFF"/>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3600340474"/>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4779088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xecSummary-Insigh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337839D-3E87-9946-9EF1-9F4ECADABFBD}"/>
              </a:ext>
            </a:extLst>
          </p:cNvPr>
          <p:cNvSpPr/>
          <p:nvPr userDrawn="1"/>
        </p:nvSpPr>
        <p:spPr>
          <a:xfrm>
            <a:off x="1" y="0"/>
            <a:ext cx="2470033" cy="6858000"/>
          </a:xfrm>
          <a:prstGeom prst="rect">
            <a:avLst/>
          </a:prstGeom>
          <a:gradFill>
            <a:gsLst>
              <a:gs pos="21000">
                <a:srgbClr val="2576B7"/>
              </a:gs>
              <a:gs pos="87000">
                <a:schemeClr val="accent1">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latin typeface="Roboto Condensed Light" panose="02000000000000000000" pitchFamily="2" charset="0"/>
            </a:endParaRPr>
          </a:p>
        </p:txBody>
      </p:sp>
      <p:sp>
        <p:nvSpPr>
          <p:cNvPr id="2" name="Title 1">
            <a:extLst>
              <a:ext uri="{FF2B5EF4-FFF2-40B4-BE49-F238E27FC236}">
                <a16:creationId xmlns:a16="http://schemas.microsoft.com/office/drawing/2014/main" id="{F4ADDE57-4E30-2343-9DAE-39F3DBBD9B61}"/>
              </a:ext>
            </a:extLst>
          </p:cNvPr>
          <p:cNvSpPr>
            <a:spLocks noGrp="1"/>
          </p:cNvSpPr>
          <p:nvPr>
            <p:ph type="title"/>
          </p:nvPr>
        </p:nvSpPr>
        <p:spPr>
          <a:xfrm>
            <a:off x="265545" y="530021"/>
            <a:ext cx="1982795" cy="1163598"/>
          </a:xfrm>
        </p:spPr>
        <p:txBody>
          <a:bodyPr>
            <a:noAutofit/>
          </a:bodyPr>
          <a:lstStyle>
            <a:lvl1pPr>
              <a:lnSpc>
                <a:spcPct val="90000"/>
              </a:lnSpc>
              <a:defRPr b="0" i="0">
                <a:solidFill>
                  <a:schemeClr val="bg1"/>
                </a:solidFill>
                <a:latin typeface="Roboto Condensed Light" panose="02000000000000000000" pitchFamily="2" charset="0"/>
              </a:defRPr>
            </a:lvl1pPr>
          </a:lstStyle>
          <a:p>
            <a:r>
              <a:rPr lang="en-US" dirty="0"/>
              <a:t>Click to edit Master title style</a:t>
            </a:r>
          </a:p>
        </p:txBody>
      </p:sp>
      <p:pic>
        <p:nvPicPr>
          <p:cNvPr id="10" name="Picture 9" descr="A close up of a logo&#10;&#10;Description automatically generated">
            <a:extLst>
              <a:ext uri="{FF2B5EF4-FFF2-40B4-BE49-F238E27FC236}">
                <a16:creationId xmlns:a16="http://schemas.microsoft.com/office/drawing/2014/main" id="{E5D50CBB-3A71-9340-95F5-5C848CF4D0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7727" r="29802" b="15666"/>
          <a:stretch/>
        </p:blipFill>
        <p:spPr>
          <a:xfrm>
            <a:off x="0" y="2094272"/>
            <a:ext cx="2444227" cy="4763729"/>
          </a:xfrm>
          <a:prstGeom prst="rect">
            <a:avLst/>
          </a:prstGeom>
        </p:spPr>
      </p:pic>
      <p:sp>
        <p:nvSpPr>
          <p:cNvPr id="13" name="Text Placeholder 12">
            <a:extLst>
              <a:ext uri="{FF2B5EF4-FFF2-40B4-BE49-F238E27FC236}">
                <a16:creationId xmlns:a16="http://schemas.microsoft.com/office/drawing/2014/main" id="{A5895281-F05F-284A-93B8-DF31D5A43342}"/>
              </a:ext>
            </a:extLst>
          </p:cNvPr>
          <p:cNvSpPr>
            <a:spLocks noGrp="1"/>
          </p:cNvSpPr>
          <p:nvPr>
            <p:ph type="body" sz="quarter" idx="13"/>
          </p:nvPr>
        </p:nvSpPr>
        <p:spPr>
          <a:xfrm>
            <a:off x="2734288" y="1710797"/>
            <a:ext cx="1022634" cy="1456894"/>
          </a:xfrm>
          <a:prstGeom prst="rect">
            <a:avLst/>
          </a:prstGeom>
        </p:spPr>
        <p:txBody>
          <a:bodyPr lIns="0" tIns="0" rIns="0" bIns="0">
            <a:noAutofit/>
          </a:bodyPr>
          <a:lstStyle>
            <a:lvl1pPr marL="0" indent="0" algn="r">
              <a:lnSpc>
                <a:spcPct val="90000"/>
              </a:lnSpc>
              <a:buNone/>
              <a:defRPr sz="1350" b="0" i="0">
                <a:solidFill>
                  <a:srgbClr val="2576B7"/>
                </a:solidFill>
                <a:latin typeface="Exo" panose="02000503000000000000" pitchFamily="2" charset="77"/>
                <a:cs typeface="Arial" panose="020B0604020202020204" pitchFamily="34" charset="0"/>
              </a:defRPr>
            </a:lvl1pPr>
            <a:lvl2pPr marL="342854" indent="0">
              <a:buNone/>
              <a:defRPr/>
            </a:lvl2pPr>
            <a:lvl3pPr marL="685709" indent="0">
              <a:buNone/>
              <a:defRPr/>
            </a:lvl3pPr>
            <a:lvl4pPr marL="1028563" indent="0">
              <a:buNone/>
              <a:defRPr/>
            </a:lvl4pPr>
            <a:lvl5pPr marL="1371417"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51E67745-F8B6-7742-9C85-BF94D59B17E3}"/>
              </a:ext>
            </a:extLst>
          </p:cNvPr>
          <p:cNvSpPr>
            <a:spLocks noGrp="1"/>
          </p:cNvSpPr>
          <p:nvPr>
            <p:ph type="body" sz="quarter" idx="15"/>
          </p:nvPr>
        </p:nvSpPr>
        <p:spPr>
          <a:xfrm>
            <a:off x="2734288" y="3288813"/>
            <a:ext cx="1022634" cy="1456894"/>
          </a:xfrm>
          <a:prstGeom prst="rect">
            <a:avLst/>
          </a:prstGeom>
        </p:spPr>
        <p:txBody>
          <a:bodyPr lIns="0" tIns="0" rIns="0" bIns="0">
            <a:noAutofit/>
          </a:bodyPr>
          <a:lstStyle>
            <a:lvl1pPr marL="0" indent="0" algn="r">
              <a:lnSpc>
                <a:spcPct val="90000"/>
              </a:lnSpc>
              <a:buNone/>
              <a:defRPr sz="1350" b="0" i="0">
                <a:solidFill>
                  <a:srgbClr val="2576B7"/>
                </a:solidFill>
                <a:latin typeface="Exo" panose="02000503000000000000" pitchFamily="2" charset="77"/>
                <a:cs typeface="Arial" panose="020B0604020202020204" pitchFamily="34" charset="0"/>
              </a:defRPr>
            </a:lvl1pPr>
            <a:lvl2pPr marL="342854" indent="0">
              <a:buNone/>
              <a:defRPr/>
            </a:lvl2pPr>
            <a:lvl3pPr marL="685709" indent="0">
              <a:buNone/>
              <a:defRPr/>
            </a:lvl3pPr>
            <a:lvl4pPr marL="1028563" indent="0">
              <a:buNone/>
              <a:defRPr/>
            </a:lvl4pPr>
            <a:lvl5pPr marL="1371417"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FD5BBA39-4C80-D648-B340-F00E0C6C3B2C}"/>
              </a:ext>
            </a:extLst>
          </p:cNvPr>
          <p:cNvSpPr>
            <a:spLocks noGrp="1"/>
          </p:cNvSpPr>
          <p:nvPr>
            <p:ph type="body" sz="quarter" idx="17"/>
          </p:nvPr>
        </p:nvSpPr>
        <p:spPr>
          <a:xfrm>
            <a:off x="2734288" y="4890932"/>
            <a:ext cx="1022634" cy="1456894"/>
          </a:xfrm>
          <a:prstGeom prst="rect">
            <a:avLst/>
          </a:prstGeom>
        </p:spPr>
        <p:txBody>
          <a:bodyPr lIns="0" tIns="0" rIns="0" bIns="0">
            <a:noAutofit/>
          </a:bodyPr>
          <a:lstStyle>
            <a:lvl1pPr marL="0" indent="0" algn="r">
              <a:lnSpc>
                <a:spcPct val="90000"/>
              </a:lnSpc>
              <a:buNone/>
              <a:defRPr sz="1350" b="0" i="0">
                <a:solidFill>
                  <a:srgbClr val="2576B7"/>
                </a:solidFill>
                <a:latin typeface="Exo" panose="02000503000000000000" pitchFamily="2" charset="77"/>
                <a:cs typeface="Arial" panose="020B0604020202020204" pitchFamily="34" charset="0"/>
              </a:defRPr>
            </a:lvl1pPr>
            <a:lvl2pPr marL="342854" indent="0">
              <a:buNone/>
              <a:defRPr/>
            </a:lvl2pPr>
            <a:lvl3pPr marL="685709" indent="0">
              <a:buNone/>
              <a:defRPr/>
            </a:lvl3pPr>
            <a:lvl4pPr marL="1028563" indent="0">
              <a:buNone/>
              <a:defRPr/>
            </a:lvl4pPr>
            <a:lvl5pPr marL="1371417" indent="0">
              <a:buNone/>
              <a:defRPr/>
            </a:lvl5pPr>
          </a:lstStyle>
          <a:p>
            <a:pPr lvl="0"/>
            <a:r>
              <a:rPr lang="en-US"/>
              <a:t>Click to edit Master text styles</a:t>
            </a:r>
          </a:p>
        </p:txBody>
      </p:sp>
      <p:sp>
        <p:nvSpPr>
          <p:cNvPr id="24" name="Text Placeholder 11">
            <a:extLst>
              <a:ext uri="{FF2B5EF4-FFF2-40B4-BE49-F238E27FC236}">
                <a16:creationId xmlns:a16="http://schemas.microsoft.com/office/drawing/2014/main" id="{D313ADEA-A1F4-A542-85A5-487F1DAC52A4}"/>
              </a:ext>
            </a:extLst>
          </p:cNvPr>
          <p:cNvSpPr>
            <a:spLocks noGrp="1"/>
          </p:cNvSpPr>
          <p:nvPr>
            <p:ph type="body" sz="quarter" idx="11"/>
          </p:nvPr>
        </p:nvSpPr>
        <p:spPr>
          <a:xfrm>
            <a:off x="275707" y="1643564"/>
            <a:ext cx="1453736" cy="1689100"/>
          </a:xfrm>
          <a:prstGeom prst="rect">
            <a:avLst/>
          </a:prstGeom>
        </p:spPr>
        <p:txBody>
          <a:bodyPr lIns="0" tIns="0" rIns="0" bIns="0">
            <a:noAutofit/>
          </a:bodyPr>
          <a:lstStyle>
            <a:lvl1pPr marL="0" indent="0">
              <a:lnSpc>
                <a:spcPct val="90000"/>
              </a:lnSpc>
              <a:buNone/>
              <a:defRPr sz="1500" b="0" i="0" spc="0">
                <a:solidFill>
                  <a:schemeClr val="bg1"/>
                </a:solidFill>
                <a:latin typeface="Montserrat Medium" pitchFamily="2" charset="77"/>
                <a:cs typeface="Arial" panose="020B0604020202020204" pitchFamily="34" charset="0"/>
              </a:defRPr>
            </a:lvl1pPr>
            <a:lvl2pPr marL="342854" indent="0">
              <a:lnSpc>
                <a:spcPts val="1800"/>
              </a:lnSpc>
              <a:buNone/>
              <a:defRPr sz="1500">
                <a:solidFill>
                  <a:srgbClr val="848585"/>
                </a:solidFill>
                <a:latin typeface="Arial" panose="020B0604020202020204" pitchFamily="34" charset="0"/>
                <a:cs typeface="Arial" panose="020B0604020202020204" pitchFamily="34" charset="0"/>
              </a:defRPr>
            </a:lvl2pPr>
            <a:lvl3pPr marL="685709" indent="0">
              <a:lnSpc>
                <a:spcPts val="1800"/>
              </a:lnSpc>
              <a:buNone/>
              <a:defRPr sz="1500">
                <a:solidFill>
                  <a:srgbClr val="848585"/>
                </a:solidFill>
                <a:latin typeface="Arial" panose="020B0604020202020204" pitchFamily="34" charset="0"/>
                <a:cs typeface="Arial" panose="020B0604020202020204" pitchFamily="34" charset="0"/>
              </a:defRPr>
            </a:lvl3pPr>
            <a:lvl4pPr marL="1028563" indent="0">
              <a:lnSpc>
                <a:spcPts val="1800"/>
              </a:lnSpc>
              <a:buNone/>
              <a:defRPr sz="1500">
                <a:solidFill>
                  <a:srgbClr val="848585"/>
                </a:solidFill>
                <a:latin typeface="Arial" panose="020B0604020202020204" pitchFamily="34" charset="0"/>
                <a:cs typeface="Arial" panose="020B0604020202020204" pitchFamily="34" charset="0"/>
              </a:defRPr>
            </a:lvl4pPr>
            <a:lvl5pPr marL="1371417" indent="0">
              <a:lnSpc>
                <a:spcPts val="1800"/>
              </a:lnSpc>
              <a:buNone/>
              <a:defRPr sz="15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2" name="Text Placeholder 4">
            <a:extLst>
              <a:ext uri="{FF2B5EF4-FFF2-40B4-BE49-F238E27FC236}">
                <a16:creationId xmlns:a16="http://schemas.microsoft.com/office/drawing/2014/main" id="{2502EE92-7C7A-FA4E-AE72-3E591F5B1581}"/>
              </a:ext>
            </a:extLst>
          </p:cNvPr>
          <p:cNvSpPr>
            <a:spLocks noGrp="1"/>
          </p:cNvSpPr>
          <p:nvPr>
            <p:ph type="body" sz="quarter" idx="18"/>
          </p:nvPr>
        </p:nvSpPr>
        <p:spPr>
          <a:xfrm>
            <a:off x="3923789" y="1710872"/>
            <a:ext cx="4695435" cy="1393834"/>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4">
            <a:extLst>
              <a:ext uri="{FF2B5EF4-FFF2-40B4-BE49-F238E27FC236}">
                <a16:creationId xmlns:a16="http://schemas.microsoft.com/office/drawing/2014/main" id="{98706D75-EAF6-024B-B02C-354058500E9C}"/>
              </a:ext>
            </a:extLst>
          </p:cNvPr>
          <p:cNvSpPr>
            <a:spLocks noGrp="1"/>
          </p:cNvSpPr>
          <p:nvPr>
            <p:ph type="body" sz="quarter" idx="19"/>
          </p:nvPr>
        </p:nvSpPr>
        <p:spPr>
          <a:xfrm>
            <a:off x="3923789" y="3276600"/>
            <a:ext cx="4695435" cy="1393834"/>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4">
            <a:extLst>
              <a:ext uri="{FF2B5EF4-FFF2-40B4-BE49-F238E27FC236}">
                <a16:creationId xmlns:a16="http://schemas.microsoft.com/office/drawing/2014/main" id="{8021F9AD-DC72-2E4A-948D-1084BB950A0D}"/>
              </a:ext>
            </a:extLst>
          </p:cNvPr>
          <p:cNvSpPr>
            <a:spLocks noGrp="1"/>
          </p:cNvSpPr>
          <p:nvPr>
            <p:ph type="body" sz="quarter" idx="20"/>
          </p:nvPr>
        </p:nvSpPr>
        <p:spPr>
          <a:xfrm>
            <a:off x="3923789" y="4876800"/>
            <a:ext cx="4695435" cy="1393834"/>
          </a:xfrm>
          <a:prstGeom prst="rect">
            <a:avLst/>
          </a:prstGeom>
        </p:spPr>
        <p:txBody>
          <a:bodyPr lIns="0" tIns="0" rIns="0" bIns="0" numCol="1" spcCol="292608"/>
          <a:lstStyle>
            <a:lvl1pPr marL="134523" indent="-134523">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1pPr>
            <a:lvl2pPr marL="471425"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2pPr>
            <a:lvl3pPr marL="816660" indent="-130951">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3pPr>
            <a:lvl4pPr marL="1161895" indent="-133332">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4pPr>
            <a:lvl5pPr marL="1499987" indent="-128570">
              <a:lnSpc>
                <a:spcPct val="110000"/>
              </a:lnSpc>
              <a:tabLst/>
              <a:defRPr sz="1050">
                <a:solidFill>
                  <a:srgbClr val="000000"/>
                </a:solidFill>
                <a:latin typeface="Roboto Condensed Light" panose="02000000000000000000" pitchFamily="2" charset="0"/>
                <a:ea typeface="Roboto Condensed Light"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8366791"/>
      </p:ext>
    </p:extLst>
  </p:cSld>
  <p:clrMapOvr>
    <a:masterClrMapping/>
  </p:clrMapOvr>
  <p:extLst>
    <p:ext uri="{DCECCB84-F9BA-43D5-87BE-67443E8EF086}">
      <p15:sldGuideLst xmlns:p15="http://schemas.microsoft.com/office/powerpoint/2012/main">
        <p15:guide id="1" orient="horz" pos="118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ueprint Overview">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265545" y="530021"/>
            <a:ext cx="4057036" cy="1130188"/>
          </a:xfrm>
        </p:spPr>
        <p:txBody>
          <a:bodyPr>
            <a:noAutofit/>
          </a:bodyPr>
          <a:lstStyle>
            <a:lvl1pPr>
              <a:defRPr b="0" i="0">
                <a:solidFill>
                  <a:srgbClr val="4A4A4A"/>
                </a:solidFill>
                <a:latin typeface="Roboto Condensed Light" panose="02000000000000000000" pitchFamily="2" charset="0"/>
              </a:defRPr>
            </a:lvl1pPr>
          </a:lstStyle>
          <a:p>
            <a:r>
              <a:rPr lang="en-US" dirty="0"/>
              <a:t>Click to edit Master title style</a:t>
            </a:r>
          </a:p>
        </p:txBody>
      </p:sp>
      <p:sp>
        <p:nvSpPr>
          <p:cNvPr id="15" name="Text Placeholder 13">
            <a:extLst>
              <a:ext uri="{FF2B5EF4-FFF2-40B4-BE49-F238E27FC236}">
                <a16:creationId xmlns:a16="http://schemas.microsoft.com/office/drawing/2014/main" id="{74424E38-EBD1-9942-88D3-BFBB97FDAA1A}"/>
              </a:ext>
            </a:extLst>
          </p:cNvPr>
          <p:cNvSpPr>
            <a:spLocks noGrp="1"/>
          </p:cNvSpPr>
          <p:nvPr>
            <p:ph type="body" sz="quarter" idx="10"/>
          </p:nvPr>
        </p:nvSpPr>
        <p:spPr>
          <a:xfrm>
            <a:off x="5382115" y="1085064"/>
            <a:ext cx="3491789" cy="726888"/>
          </a:xfrm>
          <a:prstGeom prst="rect">
            <a:avLst/>
          </a:prstGeom>
        </p:spPr>
        <p:txBody>
          <a:bodyPr lIns="0" tIns="0" rIns="0" bIns="0">
            <a:noAutofit/>
          </a:bodyPr>
          <a:lstStyle>
            <a:lvl1pPr marL="0" indent="0">
              <a:lnSpc>
                <a:spcPct val="100000"/>
              </a:lnSpc>
              <a:buNone/>
              <a:defRPr sz="900" b="0" i="0">
                <a:solidFill>
                  <a:srgbClr val="2576B7"/>
                </a:solidFill>
                <a:latin typeface="Montserrat SemiBold" pitchFamily="2" charset="77"/>
                <a:cs typeface="Arial" panose="020B0604020202020204" pitchFamily="34" charset="0"/>
              </a:defRPr>
            </a:lvl1pPr>
          </a:lstStyle>
          <a:p>
            <a:pPr lvl="0"/>
            <a:r>
              <a:rPr lang="en-US"/>
              <a:t>Click to edit Master text styles</a:t>
            </a:r>
          </a:p>
        </p:txBody>
      </p:sp>
      <p:sp>
        <p:nvSpPr>
          <p:cNvPr id="4" name="TextBox 3">
            <a:extLst>
              <a:ext uri="{FF2B5EF4-FFF2-40B4-BE49-F238E27FC236}">
                <a16:creationId xmlns:a16="http://schemas.microsoft.com/office/drawing/2014/main" id="{E1706892-E9F6-47F5-8B7C-E0A8CD87FFBC}"/>
              </a:ext>
            </a:extLst>
          </p:cNvPr>
          <p:cNvSpPr txBox="1"/>
          <p:nvPr userDrawn="1"/>
        </p:nvSpPr>
        <p:spPr>
          <a:xfrm>
            <a:off x="6602156" y="6449569"/>
            <a:ext cx="2578415" cy="92333"/>
          </a:xfrm>
          <a:prstGeom prst="rect">
            <a:avLst/>
          </a:prstGeom>
        </p:spPr>
        <p:txBody>
          <a:bodyPr vert="horz" wrap="square" lIns="0" tIns="0" rIns="68571" bIns="0" rtlCol="0">
            <a:spAutoFit/>
          </a:bodyPr>
          <a:lstStyle/>
          <a:p>
            <a:pPr marL="5775" marR="182207" lvl="0" indent="0" algn="r" defTabSz="415814" rtl="0" eaLnBrk="1" fontAlgn="auto" latinLnBrk="0" hangingPunct="1">
              <a:lnSpc>
                <a:spcPct val="100000"/>
              </a:lnSpc>
              <a:spcBef>
                <a:spcPts val="41"/>
              </a:spcBef>
              <a:spcAft>
                <a:spcPts val="0"/>
              </a:spcAft>
              <a:buClrTx/>
              <a:buSzTx/>
              <a:buFontTx/>
              <a:buNone/>
              <a:tabLst/>
              <a:defRPr/>
            </a:pPr>
            <a:r>
              <a:rPr lang="en-CA" sz="600" spc="-13" dirty="0">
                <a:solidFill>
                  <a:schemeClr val="tx1">
                    <a:lumMod val="50000"/>
                  </a:schemeClr>
                </a:solidFill>
                <a:latin typeface="Exo" panose="02000503000000000000" pitchFamily="2" charset="77"/>
              </a:rPr>
              <a:t>Info-</a:t>
            </a:r>
            <a:r>
              <a:rPr lang="en-CA" sz="600" spc="-77" dirty="0">
                <a:solidFill>
                  <a:schemeClr val="tx1">
                    <a:lumMod val="50000"/>
                  </a:schemeClr>
                </a:solidFill>
                <a:latin typeface="Exo" panose="02000503000000000000" pitchFamily="2" charset="77"/>
              </a:rPr>
              <a:t>T</a:t>
            </a:r>
            <a:r>
              <a:rPr lang="en-CA" sz="600" spc="-11" dirty="0">
                <a:solidFill>
                  <a:schemeClr val="tx1">
                    <a:lumMod val="50000"/>
                  </a:schemeClr>
                </a:solidFill>
                <a:latin typeface="Exo" panose="02000503000000000000" pitchFamily="2" charset="77"/>
              </a:rPr>
              <a:t>ec</a:t>
            </a:r>
            <a:r>
              <a:rPr lang="en-CA" sz="600" spc="4" dirty="0">
                <a:solidFill>
                  <a:schemeClr val="tx1">
                    <a:lumMod val="50000"/>
                  </a:schemeClr>
                </a:solidFill>
                <a:latin typeface="Exo" panose="02000503000000000000" pitchFamily="2" charset="77"/>
              </a:rPr>
              <a:t>h</a:t>
            </a:r>
            <a:r>
              <a:rPr lang="en-CA" sz="600" spc="-29" dirty="0">
                <a:solidFill>
                  <a:schemeClr val="tx1">
                    <a:lumMod val="50000"/>
                  </a:schemeClr>
                </a:solidFill>
                <a:latin typeface="Exo" panose="02000503000000000000" pitchFamily="2" charset="77"/>
              </a:rPr>
              <a:t> </a:t>
            </a:r>
            <a:r>
              <a:rPr lang="en-CA" sz="600" spc="-11" dirty="0">
                <a:solidFill>
                  <a:schemeClr val="tx1">
                    <a:lumMod val="50000"/>
                  </a:schemeClr>
                </a:solidFill>
                <a:latin typeface="Exo" panose="02000503000000000000" pitchFamily="2" charset="77"/>
              </a:rPr>
              <a:t>Researc</a:t>
            </a:r>
            <a:r>
              <a:rPr lang="en-CA" sz="600" spc="4" dirty="0">
                <a:solidFill>
                  <a:schemeClr val="tx1">
                    <a:lumMod val="50000"/>
                  </a:schemeClr>
                </a:solidFill>
                <a:latin typeface="Exo" panose="02000503000000000000" pitchFamily="2" charset="77"/>
              </a:rPr>
              <a:t>h</a:t>
            </a:r>
            <a:r>
              <a:rPr lang="en-CA" sz="600" spc="-29" dirty="0">
                <a:solidFill>
                  <a:schemeClr val="tx1">
                    <a:lumMod val="50000"/>
                  </a:schemeClr>
                </a:solidFill>
                <a:latin typeface="Exo" panose="02000503000000000000" pitchFamily="2" charset="77"/>
              </a:rPr>
              <a:t> </a:t>
            </a:r>
            <a:r>
              <a:rPr lang="en-CA" sz="600" spc="-11" dirty="0">
                <a:solidFill>
                  <a:schemeClr val="tx1">
                    <a:lumMod val="50000"/>
                  </a:schemeClr>
                </a:solidFill>
                <a:latin typeface="Exo" panose="02000503000000000000" pitchFamily="2" charset="77"/>
              </a:rPr>
              <a:t>Grou</a:t>
            </a:r>
            <a:r>
              <a:rPr lang="en-CA" sz="600" spc="4" dirty="0">
                <a:solidFill>
                  <a:schemeClr val="tx1">
                    <a:lumMod val="50000"/>
                  </a:schemeClr>
                </a:solidFill>
                <a:latin typeface="Exo" panose="02000503000000000000" pitchFamily="2" charset="77"/>
              </a:rPr>
              <a:t>p   |   </a:t>
            </a:r>
            <a:fld id="{81D60167-4931-47E6-BA6A-407CBD079E47}" type="slidenum">
              <a:rPr lang="en-CA" sz="600" spc="4" smtClean="0">
                <a:solidFill>
                  <a:schemeClr val="tx1">
                    <a:lumMod val="50000"/>
                  </a:schemeClr>
                </a:solidFill>
                <a:latin typeface="Exo" panose="02000503000000000000" pitchFamily="2" charset="77"/>
                <a:cs typeface="Arial" panose="020B0604020202020204" pitchFamily="34" charset="0"/>
              </a:rPr>
              <a:pPr marL="5775" marR="182207" lvl="0" indent="0" algn="r" defTabSz="415814" rtl="0" eaLnBrk="1" fontAlgn="auto" latinLnBrk="0" hangingPunct="1">
                <a:lnSpc>
                  <a:spcPct val="100000"/>
                </a:lnSpc>
                <a:spcBef>
                  <a:spcPts val="41"/>
                </a:spcBef>
                <a:spcAft>
                  <a:spcPts val="0"/>
                </a:spcAft>
                <a:buClrTx/>
                <a:buSzTx/>
                <a:buFontTx/>
                <a:buNone/>
                <a:tabLst/>
                <a:defRPr/>
              </a:pPr>
              <a:t>‹#›</a:t>
            </a:fld>
            <a:endParaRPr sz="600" spc="4" dirty="0">
              <a:solidFill>
                <a:schemeClr val="tx1">
                  <a:lumMod val="50000"/>
                </a:schemeClr>
              </a:solidFill>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827713933"/>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ZA"/>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6F78AFFA-F314-4090-834A-5BC682C706B3}" type="datetimeFigureOut">
              <a:rPr lang="en-ZA" smtClean="0"/>
              <a:t>2024/03/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39176198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6F78AFFA-F314-4090-834A-5BC682C706B3}" type="datetimeFigureOut">
              <a:rPr lang="en-ZA" smtClean="0"/>
              <a:t>2024/03/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21189670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ZA"/>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F78AFFA-F314-4090-834A-5BC682C706B3}" type="datetimeFigureOut">
              <a:rPr lang="en-ZA" smtClean="0"/>
              <a:t>2024/03/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3046456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6F78AFFA-F314-4090-834A-5BC682C706B3}" type="datetimeFigureOut">
              <a:rPr lang="en-ZA" smtClean="0"/>
              <a:t>2024/03/0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13951723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6F78AFFA-F314-4090-834A-5BC682C706B3}" type="datetimeFigureOut">
              <a:rPr lang="en-ZA" smtClean="0"/>
              <a:t>2024/03/05</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17101356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6F78AFFA-F314-4090-834A-5BC682C706B3}" type="datetimeFigureOut">
              <a:rPr lang="en-ZA" smtClean="0"/>
              <a:t>2024/03/05</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30715687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78AFFA-F314-4090-834A-5BC682C706B3}" type="datetimeFigureOut">
              <a:rPr lang="en-ZA" smtClean="0"/>
              <a:t>2024/03/05</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42397923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F78AFFA-F314-4090-834A-5BC682C706B3}" type="datetimeFigureOut">
              <a:rPr lang="en-ZA" smtClean="0"/>
              <a:t>2024/03/0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CAA5CF85-BC15-417D-911E-532B95DAE4DC}" type="slidenum">
              <a:rPr lang="en-ZA" smtClean="0"/>
              <a:t>‹#›</a:t>
            </a:fld>
            <a:endParaRPr lang="en-ZA"/>
          </a:p>
        </p:txBody>
      </p:sp>
      <p:sp>
        <p:nvSpPr>
          <p:cNvPr id="9" name="Picture Placeholder 8"/>
          <p:cNvSpPr>
            <a:spLocks noGrp="1"/>
          </p:cNvSpPr>
          <p:nvPr>
            <p:ph type="pic" sz="quarter" idx="13"/>
          </p:nvPr>
        </p:nvSpPr>
        <p:spPr>
          <a:xfrm>
            <a:off x="3887392" y="995364"/>
            <a:ext cx="4627958" cy="4873625"/>
          </a:xfrm>
        </p:spPr>
        <p:txBody>
          <a:bodyPr/>
          <a:lstStyle>
            <a:lvl1pPr marL="0" indent="0">
              <a:buNone/>
              <a:defRPr/>
            </a:lvl1pPr>
          </a:lstStyle>
          <a:p>
            <a:endParaRPr lang="en-ZA" dirty="0"/>
          </a:p>
        </p:txBody>
      </p:sp>
    </p:spTree>
    <p:extLst>
      <p:ext uri="{BB962C8B-B14F-4D97-AF65-F5344CB8AC3E}">
        <p14:creationId xmlns:p14="http://schemas.microsoft.com/office/powerpoint/2010/main" val="3349106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a:t>#</a:t>
            </a:r>
          </a:p>
        </p:txBody>
      </p:sp>
    </p:spTree>
    <p:extLst>
      <p:ext uri="{BB962C8B-B14F-4D97-AF65-F5344CB8AC3E}">
        <p14:creationId xmlns:p14="http://schemas.microsoft.com/office/powerpoint/2010/main" val="2841109890"/>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Picture Placeholder 2"/>
          <p:cNvSpPr>
            <a:spLocks noGrp="1"/>
          </p:cNvSpPr>
          <p:nvPr>
            <p:ph type="pic" idx="1"/>
          </p:nvPr>
        </p:nvSpPr>
        <p:spPr>
          <a:xfrm>
            <a:off x="3758591" y="987425"/>
            <a:ext cx="2346224" cy="227439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ZA"/>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F78AFFA-F314-4090-834A-5BC682C706B3}" type="datetimeFigureOut">
              <a:rPr lang="en-ZA" smtClean="0"/>
              <a:t>2024/03/0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CAA5CF85-BC15-417D-911E-532B95DAE4DC}" type="slidenum">
              <a:rPr lang="en-ZA" smtClean="0"/>
              <a:t>‹#›</a:t>
            </a:fld>
            <a:endParaRPr lang="en-ZA"/>
          </a:p>
        </p:txBody>
      </p:sp>
      <p:sp>
        <p:nvSpPr>
          <p:cNvPr id="9" name="Picture Placeholder 8"/>
          <p:cNvSpPr>
            <a:spLocks noGrp="1"/>
          </p:cNvSpPr>
          <p:nvPr>
            <p:ph type="pic" sz="quarter" idx="13"/>
          </p:nvPr>
        </p:nvSpPr>
        <p:spPr>
          <a:xfrm>
            <a:off x="3758590" y="3425825"/>
            <a:ext cx="2356460" cy="2443163"/>
          </a:xfrm>
        </p:spPr>
        <p:txBody>
          <a:bodyPr/>
          <a:lstStyle>
            <a:lvl1pPr marL="0" indent="0">
              <a:buNone/>
              <a:defRPr/>
            </a:lvl1pPr>
          </a:lstStyle>
          <a:p>
            <a:endParaRPr lang="en-ZA" dirty="0"/>
          </a:p>
        </p:txBody>
      </p:sp>
      <p:sp>
        <p:nvSpPr>
          <p:cNvPr id="11" name="Picture Placeholder 10"/>
          <p:cNvSpPr>
            <a:spLocks noGrp="1"/>
          </p:cNvSpPr>
          <p:nvPr>
            <p:ph type="pic" sz="quarter" idx="14"/>
          </p:nvPr>
        </p:nvSpPr>
        <p:spPr>
          <a:xfrm>
            <a:off x="6233616" y="987425"/>
            <a:ext cx="2346224" cy="2274888"/>
          </a:xfrm>
        </p:spPr>
        <p:txBody>
          <a:bodyPr/>
          <a:lstStyle>
            <a:lvl1pPr marL="0" indent="0">
              <a:buNone/>
              <a:defRPr/>
            </a:lvl1pPr>
          </a:lstStyle>
          <a:p>
            <a:endParaRPr lang="en-ZA" dirty="0"/>
          </a:p>
        </p:txBody>
      </p:sp>
      <p:sp>
        <p:nvSpPr>
          <p:cNvPr id="13" name="Picture Placeholder 12"/>
          <p:cNvSpPr>
            <a:spLocks noGrp="1"/>
          </p:cNvSpPr>
          <p:nvPr>
            <p:ph type="pic" sz="quarter" idx="15"/>
          </p:nvPr>
        </p:nvSpPr>
        <p:spPr>
          <a:xfrm>
            <a:off x="6233616" y="3425825"/>
            <a:ext cx="2346224" cy="2443163"/>
          </a:xfrm>
        </p:spPr>
        <p:txBody>
          <a:bodyPr/>
          <a:lstStyle>
            <a:lvl1pPr marL="0" indent="0">
              <a:buNone/>
              <a:defRPr/>
            </a:lvl1pPr>
          </a:lstStyle>
          <a:p>
            <a:endParaRPr lang="en-ZA" dirty="0"/>
          </a:p>
        </p:txBody>
      </p:sp>
    </p:spTree>
    <p:extLst>
      <p:ext uri="{BB962C8B-B14F-4D97-AF65-F5344CB8AC3E}">
        <p14:creationId xmlns:p14="http://schemas.microsoft.com/office/powerpoint/2010/main" val="39853074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8650" y="4961411"/>
            <a:ext cx="7949999" cy="907576"/>
          </a:xfrm>
        </p:spPr>
        <p:txBody>
          <a:bodyPr anchor="b"/>
          <a:lstStyle>
            <a:lvl1pPr>
              <a:defRPr sz="2400"/>
            </a:lvl1pPr>
          </a:lstStyle>
          <a:p>
            <a:r>
              <a:rPr lang="en-US"/>
              <a:t>Click to edit Master title style</a:t>
            </a:r>
            <a:endParaRPr lang="en-ZA"/>
          </a:p>
        </p:txBody>
      </p:sp>
      <p:sp>
        <p:nvSpPr>
          <p:cNvPr id="5" name="Date Placeholder 4"/>
          <p:cNvSpPr>
            <a:spLocks noGrp="1"/>
          </p:cNvSpPr>
          <p:nvPr>
            <p:ph type="dt" sz="half" idx="10"/>
          </p:nvPr>
        </p:nvSpPr>
        <p:spPr/>
        <p:txBody>
          <a:bodyPr/>
          <a:lstStyle/>
          <a:p>
            <a:fld id="{6F78AFFA-F314-4090-834A-5BC682C706B3}" type="datetimeFigureOut">
              <a:rPr lang="en-ZA" smtClean="0"/>
              <a:t>2024/03/0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CAA5CF85-BC15-417D-911E-532B95DAE4DC}" type="slidenum">
              <a:rPr lang="en-ZA" smtClean="0"/>
              <a:t>‹#›</a:t>
            </a:fld>
            <a:endParaRPr lang="en-ZA"/>
          </a:p>
        </p:txBody>
      </p:sp>
      <p:sp>
        <p:nvSpPr>
          <p:cNvPr id="9" name="Picture Placeholder 8"/>
          <p:cNvSpPr>
            <a:spLocks noGrp="1"/>
          </p:cNvSpPr>
          <p:nvPr>
            <p:ph type="pic" sz="quarter" idx="13"/>
          </p:nvPr>
        </p:nvSpPr>
        <p:spPr>
          <a:xfrm>
            <a:off x="628650" y="935071"/>
            <a:ext cx="3350187" cy="3782659"/>
          </a:xfrm>
        </p:spPr>
        <p:txBody>
          <a:bodyPr/>
          <a:lstStyle>
            <a:lvl1pPr marL="0" indent="0">
              <a:buNone/>
              <a:defRPr/>
            </a:lvl1pPr>
          </a:lstStyle>
          <a:p>
            <a:endParaRPr lang="en-ZA" dirty="0"/>
          </a:p>
        </p:txBody>
      </p:sp>
      <p:sp>
        <p:nvSpPr>
          <p:cNvPr id="13" name="Picture Placeholder 12"/>
          <p:cNvSpPr>
            <a:spLocks noGrp="1"/>
          </p:cNvSpPr>
          <p:nvPr>
            <p:ph type="pic" sz="quarter" idx="15"/>
          </p:nvPr>
        </p:nvSpPr>
        <p:spPr>
          <a:xfrm>
            <a:off x="5211916" y="921423"/>
            <a:ext cx="3366733" cy="3782659"/>
          </a:xfrm>
        </p:spPr>
        <p:txBody>
          <a:bodyPr/>
          <a:lstStyle>
            <a:lvl1pPr marL="0" indent="0">
              <a:buNone/>
              <a:defRPr/>
            </a:lvl1pPr>
          </a:lstStyle>
          <a:p>
            <a:endParaRPr lang="en-ZA" dirty="0"/>
          </a:p>
        </p:txBody>
      </p:sp>
    </p:spTree>
    <p:extLst>
      <p:ext uri="{BB962C8B-B14F-4D97-AF65-F5344CB8AC3E}">
        <p14:creationId xmlns:p14="http://schemas.microsoft.com/office/powerpoint/2010/main" val="9097892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6F78AFFA-F314-4090-834A-5BC682C706B3}" type="datetimeFigureOut">
              <a:rPr lang="en-ZA" smtClean="0"/>
              <a:t>2024/03/05</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15192726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6F78AFFA-F314-4090-834A-5BC682C706B3}" type="datetimeFigureOut">
              <a:rPr lang="en-ZA" smtClean="0"/>
              <a:t>2024/03/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36836703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6F78AFFA-F314-4090-834A-5BC682C706B3}" type="datetimeFigureOut">
              <a:rPr lang="en-ZA" smtClean="0"/>
              <a:t>2024/03/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AA5CF85-BC15-417D-911E-532B95DAE4DC}" type="slidenum">
              <a:rPr lang="en-ZA" smtClean="0"/>
              <a:t>‹#›</a:t>
            </a:fld>
            <a:endParaRPr lang="en-ZA"/>
          </a:p>
        </p:txBody>
      </p:sp>
    </p:spTree>
    <p:extLst>
      <p:ext uri="{BB962C8B-B14F-4D97-AF65-F5344CB8AC3E}">
        <p14:creationId xmlns:p14="http://schemas.microsoft.com/office/powerpoint/2010/main" val="9063070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hank You Slide 16">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A180056-9DD1-C942-ACC4-5AFE07848C58}"/>
              </a:ext>
            </a:extLst>
          </p:cNvPr>
          <p:cNvSpPr>
            <a:spLocks noGrp="1"/>
          </p:cNvSpPr>
          <p:nvPr>
            <p:ph type="pic" sz="quarter" idx="13"/>
          </p:nvPr>
        </p:nvSpPr>
        <p:spPr>
          <a:xfrm>
            <a:off x="4215692" y="286864"/>
            <a:ext cx="4926522" cy="6571136"/>
          </a:xfrm>
          <a:custGeom>
            <a:avLst/>
            <a:gdLst>
              <a:gd name="connsiteX0" fmla="*/ 0 w 9435617"/>
              <a:gd name="connsiteY0" fmla="*/ 0 h 10034549"/>
              <a:gd name="connsiteX1" fmla="*/ 9435617 w 9435617"/>
              <a:gd name="connsiteY1" fmla="*/ 0 h 10034549"/>
              <a:gd name="connsiteX2" fmla="*/ 9435617 w 9435617"/>
              <a:gd name="connsiteY2" fmla="*/ 10034549 h 10034549"/>
              <a:gd name="connsiteX3" fmla="*/ 0 w 9435617"/>
              <a:gd name="connsiteY3" fmla="*/ 10034549 h 10034549"/>
            </a:gdLst>
            <a:ahLst/>
            <a:cxnLst>
              <a:cxn ang="0">
                <a:pos x="connsiteX0" y="connsiteY0"/>
              </a:cxn>
              <a:cxn ang="0">
                <a:pos x="connsiteX1" y="connsiteY1"/>
              </a:cxn>
              <a:cxn ang="0">
                <a:pos x="connsiteX2" y="connsiteY2"/>
              </a:cxn>
              <a:cxn ang="0">
                <a:pos x="connsiteX3" y="connsiteY3"/>
              </a:cxn>
            </a:cxnLst>
            <a:rect l="l" t="t" r="r" b="b"/>
            <a:pathLst>
              <a:path w="9435617" h="10034549">
                <a:moveTo>
                  <a:pt x="0" y="0"/>
                </a:moveTo>
                <a:lnTo>
                  <a:pt x="9435617" y="0"/>
                </a:lnTo>
                <a:lnTo>
                  <a:pt x="9435617" y="10034549"/>
                </a:lnTo>
                <a:lnTo>
                  <a:pt x="0" y="10034549"/>
                </a:lnTo>
                <a:close/>
              </a:path>
            </a:pathLst>
          </a:custGeom>
          <a:solidFill>
            <a:schemeClr val="bg2">
              <a:lumMod val="95000"/>
            </a:schemeClr>
          </a:solidFill>
        </p:spPr>
        <p:txBody>
          <a:bodyPr wrap="square" anchor="ctr">
            <a:noAutofit/>
          </a:bodyPr>
          <a:lstStyle>
            <a:lvl1pPr marL="0" indent="0" algn="ctr">
              <a:buNone/>
              <a:defRPr sz="900"/>
            </a:lvl1pPr>
          </a:lstStyle>
          <a:p>
            <a:endParaRPr lang="en-US"/>
          </a:p>
        </p:txBody>
      </p:sp>
    </p:spTree>
    <p:extLst>
      <p:ext uri="{BB962C8B-B14F-4D97-AF65-F5344CB8AC3E}">
        <p14:creationId xmlns:p14="http://schemas.microsoft.com/office/powerpoint/2010/main" val="11412329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 Blue">
    <p:spTree>
      <p:nvGrpSpPr>
        <p:cNvPr id="1" name=""/>
        <p:cNvGrpSpPr/>
        <p:nvPr/>
      </p:nvGrpSpPr>
      <p:grpSpPr>
        <a:xfrm>
          <a:off x="0" y="0"/>
          <a:ext cx="0" cy="0"/>
          <a:chOff x="0" y="0"/>
          <a:chExt cx="0" cy="0"/>
        </a:xfrm>
      </p:grpSpPr>
      <p:sp>
        <p:nvSpPr>
          <p:cNvPr id="2" name="Title 1"/>
          <p:cNvSpPr>
            <a:spLocks noGrp="1"/>
          </p:cNvSpPr>
          <p:nvPr>
            <p:ph type="title"/>
          </p:nvPr>
        </p:nvSpPr>
        <p:spPr>
          <a:xfrm>
            <a:off x="287795" y="241740"/>
            <a:ext cx="7748535" cy="850247"/>
          </a:xfrm>
          <a:prstGeom prst="rect">
            <a:avLst/>
          </a:prstGeom>
        </p:spPr>
        <p:txBody>
          <a:bodyPr anchor="t">
            <a:normAutofit/>
          </a:bodyPr>
          <a:lstStyle>
            <a:lvl1pPr>
              <a:defRPr sz="1350" b="1">
                <a:solidFill>
                  <a:srgbClr val="0C359C"/>
                </a:solidFill>
                <a:latin typeface="Arial Nova" panose="020B0504020202020204" pitchFamily="34" charset="0"/>
              </a:defRPr>
            </a:lvl1pPr>
          </a:lstStyle>
          <a:p>
            <a:r>
              <a:rPr lang="en-US" dirty="0"/>
              <a:t>Click to edit Master title style</a:t>
            </a:r>
            <a:endParaRPr lang="en-CA" dirty="0"/>
          </a:p>
        </p:txBody>
      </p:sp>
      <p:sp>
        <p:nvSpPr>
          <p:cNvPr id="3" name="Content Placeholder 2"/>
          <p:cNvSpPr>
            <a:spLocks noGrp="1"/>
          </p:cNvSpPr>
          <p:nvPr>
            <p:ph idx="1"/>
          </p:nvPr>
        </p:nvSpPr>
        <p:spPr>
          <a:xfrm>
            <a:off x="293915" y="1337786"/>
            <a:ext cx="8505145" cy="4839177"/>
          </a:xfrm>
          <a:prstGeom prst="rect">
            <a:avLst/>
          </a:prstGeom>
        </p:spPr>
        <p:txBody>
          <a:bodyPr/>
          <a:lstStyle>
            <a:lvl1pPr>
              <a:defRPr sz="1125">
                <a:solidFill>
                  <a:srgbClr val="033461"/>
                </a:solidFill>
                <a:latin typeface="Arial" panose="020B0604020202020204" pitchFamily="34" charset="0"/>
                <a:cs typeface="Arial" panose="020B0604020202020204" pitchFamily="34" charset="0"/>
              </a:defRPr>
            </a:lvl1pPr>
            <a:lvl2pPr>
              <a:defRPr sz="1013">
                <a:solidFill>
                  <a:srgbClr val="033461"/>
                </a:solidFill>
                <a:latin typeface="Arial" panose="020B0604020202020204" pitchFamily="34" charset="0"/>
                <a:cs typeface="Arial" panose="020B0604020202020204" pitchFamily="34" charset="0"/>
              </a:defRPr>
            </a:lvl2pPr>
            <a:lvl3pPr>
              <a:defRPr sz="900">
                <a:solidFill>
                  <a:srgbClr val="033461"/>
                </a:solidFill>
                <a:latin typeface="Arial" panose="020B0604020202020204" pitchFamily="34" charset="0"/>
                <a:cs typeface="Arial" panose="020B0604020202020204" pitchFamily="34" charset="0"/>
              </a:defRPr>
            </a:lvl3pPr>
            <a:lvl4pPr>
              <a:defRPr sz="788">
                <a:solidFill>
                  <a:srgbClr val="033461"/>
                </a:solidFill>
                <a:latin typeface="Arial" panose="020B0604020202020204" pitchFamily="34" charset="0"/>
                <a:cs typeface="Arial" panose="020B0604020202020204" pitchFamily="34" charset="0"/>
              </a:defRPr>
            </a:lvl4pPr>
            <a:lvl5pPr>
              <a:defRPr sz="675">
                <a:solidFill>
                  <a:srgbClr val="03346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9" name="Footer Placeholder 4">
            <a:extLst>
              <a:ext uri="{FF2B5EF4-FFF2-40B4-BE49-F238E27FC236}">
                <a16:creationId xmlns:a16="http://schemas.microsoft.com/office/drawing/2014/main" id="{31029B11-320F-47E2-A12E-2654CEE790AA}"/>
              </a:ext>
            </a:extLst>
          </p:cNvPr>
          <p:cNvSpPr txBox="1">
            <a:spLocks/>
          </p:cNvSpPr>
          <p:nvPr userDrawn="1"/>
        </p:nvSpPr>
        <p:spPr>
          <a:xfrm>
            <a:off x="6837630" y="6613074"/>
            <a:ext cx="1579264" cy="244929"/>
          </a:xfrm>
          <a:prstGeom prst="rect">
            <a:avLst/>
          </a:prstGeom>
        </p:spPr>
        <p:txBody>
          <a:bodyPr vert="horz" lIns="51435" tIns="25718" rIns="51435" bIns="25718"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dirty="0"/>
              <a:t>Info-Tech Research Group</a:t>
            </a:r>
            <a:endParaRPr lang="en-CA" sz="675" dirty="0"/>
          </a:p>
        </p:txBody>
      </p:sp>
      <p:sp>
        <p:nvSpPr>
          <p:cNvPr id="10" name="Slide Number Placeholder 5">
            <a:extLst>
              <a:ext uri="{FF2B5EF4-FFF2-40B4-BE49-F238E27FC236}">
                <a16:creationId xmlns:a16="http://schemas.microsoft.com/office/drawing/2014/main" id="{74DB2DFB-98D8-44AD-8EFC-2BE19ACF0547}"/>
              </a:ext>
            </a:extLst>
          </p:cNvPr>
          <p:cNvSpPr txBox="1">
            <a:spLocks/>
          </p:cNvSpPr>
          <p:nvPr userDrawn="1"/>
        </p:nvSpPr>
        <p:spPr>
          <a:xfrm>
            <a:off x="8416894" y="6613071"/>
            <a:ext cx="720317" cy="245746"/>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EC44C1-A15B-4329-B8B4-CECA7A14E8BE}" type="slidenum">
              <a:rPr lang="en-CA" sz="675" smtClean="0"/>
              <a:pPr/>
              <a:t>‹#›</a:t>
            </a:fld>
            <a:endParaRPr lang="en-CA" sz="675" dirty="0"/>
          </a:p>
        </p:txBody>
      </p:sp>
    </p:spTree>
    <p:extLst>
      <p:ext uri="{BB962C8B-B14F-4D97-AF65-F5344CB8AC3E}">
        <p14:creationId xmlns:p14="http://schemas.microsoft.com/office/powerpoint/2010/main" val="8244814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89814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Title Only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50117-E1F4-4D7A-8CDB-CE5CC1B660FF}"/>
              </a:ext>
            </a:extLst>
          </p:cNvPr>
          <p:cNvSpPr>
            <a:spLocks noGrp="1"/>
          </p:cNvSpPr>
          <p:nvPr>
            <p:ph type="title"/>
          </p:nvPr>
        </p:nvSpPr>
        <p:spPr/>
        <p:txBody>
          <a:bodyPr/>
          <a:lstStyle/>
          <a:p>
            <a:r>
              <a:rPr lang="en-US"/>
              <a:t>Click to edit Master title style</a:t>
            </a:r>
          </a:p>
        </p:txBody>
      </p:sp>
      <p:sp>
        <p:nvSpPr>
          <p:cNvPr id="4" name="Layout Protection area" hidden="1">
            <a:extLst>
              <a:ext uri="{FF2B5EF4-FFF2-40B4-BE49-F238E27FC236}">
                <a16:creationId xmlns:a16="http://schemas.microsoft.com/office/drawing/2014/main" id="{8242F7E1-D0FF-42D3-BA5D-FD592BC2A432}"/>
              </a:ext>
            </a:extLst>
          </p:cNvPr>
          <p:cNvSpPr/>
          <p:nvPr userDrawn="1">
            <p:custDataLst>
              <p:tags r:id="rId1"/>
            </p:custDataLst>
          </p:nvPr>
        </p:nvSpPr>
        <p:spPr>
          <a:xfrm>
            <a:off x="0" y="1572242"/>
            <a:ext cx="9132074" cy="528575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Slide Number Placeholder 4">
            <a:extLst>
              <a:ext uri="{FF2B5EF4-FFF2-40B4-BE49-F238E27FC236}">
                <a16:creationId xmlns:a16="http://schemas.microsoft.com/office/drawing/2014/main" id="{5AB76B8E-1A27-3048-9606-442ADC84E474}"/>
              </a:ext>
            </a:extLst>
          </p:cNvPr>
          <p:cNvSpPr>
            <a:spLocks noGrp="1"/>
          </p:cNvSpPr>
          <p:nvPr>
            <p:ph type="sldNum" sz="quarter" idx="12"/>
          </p:nvPr>
        </p:nvSpPr>
        <p:spPr/>
        <p:txBody>
          <a:bodyPr/>
          <a:lstStyle/>
          <a:p>
            <a:pPr defTabSz="685800">
              <a:defRPr/>
            </a:pPr>
            <a:fld id="{7F9396FD-A8D2-5548-97AD-44EE9AACF15F}" type="slidenum">
              <a:rPr lang="en-US" sz="675" smtClean="0">
                <a:solidFill>
                  <a:srgbClr val="000000"/>
                </a:solidFill>
                <a:latin typeface="Nunito Sans Light"/>
                <a:ea typeface="Roboto" panose="02000000000000000000" pitchFamily="2" charset="0"/>
              </a:rPr>
              <a:pPr defTabSz="685800">
                <a:defRPr/>
              </a:pPr>
              <a:t>‹#›</a:t>
            </a:fld>
            <a:endParaRPr lang="en-US" sz="675">
              <a:solidFill>
                <a:srgbClr val="000000"/>
              </a:solidFill>
              <a:latin typeface="Nunito Sans Light"/>
              <a:ea typeface="Roboto" panose="02000000000000000000" pitchFamily="2" charset="0"/>
            </a:endParaRPr>
          </a:p>
        </p:txBody>
      </p:sp>
    </p:spTree>
    <p:extLst>
      <p:ext uri="{BB962C8B-B14F-4D97-AF65-F5344CB8AC3E}">
        <p14:creationId xmlns:p14="http://schemas.microsoft.com/office/powerpoint/2010/main" val="8041640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ission 18">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8949C5A-7804-5141-992D-37F29497D945}"/>
              </a:ext>
            </a:extLst>
          </p:cNvPr>
          <p:cNvSpPr>
            <a:spLocks noGrp="1"/>
          </p:cNvSpPr>
          <p:nvPr>
            <p:ph type="pic" sz="quarter" idx="10"/>
          </p:nvPr>
        </p:nvSpPr>
        <p:spPr>
          <a:xfrm>
            <a:off x="1524170" y="1303160"/>
            <a:ext cx="3189590" cy="4251680"/>
          </a:xfrm>
          <a:custGeom>
            <a:avLst/>
            <a:gdLst>
              <a:gd name="connsiteX0" fmla="*/ 99829 w 8503360"/>
              <a:gd name="connsiteY0" fmla="*/ 0 h 8503360"/>
              <a:gd name="connsiteX1" fmla="*/ 8403531 w 8503360"/>
              <a:gd name="connsiteY1" fmla="*/ 0 h 8503360"/>
              <a:gd name="connsiteX2" fmla="*/ 8503360 w 8503360"/>
              <a:gd name="connsiteY2" fmla="*/ 99829 h 8503360"/>
              <a:gd name="connsiteX3" fmla="*/ 8503360 w 8503360"/>
              <a:gd name="connsiteY3" fmla="*/ 8403531 h 8503360"/>
              <a:gd name="connsiteX4" fmla="*/ 8403531 w 8503360"/>
              <a:gd name="connsiteY4" fmla="*/ 8503360 h 8503360"/>
              <a:gd name="connsiteX5" fmla="*/ 99829 w 8503360"/>
              <a:gd name="connsiteY5" fmla="*/ 8503360 h 8503360"/>
              <a:gd name="connsiteX6" fmla="*/ 0 w 8503360"/>
              <a:gd name="connsiteY6" fmla="*/ 8403531 h 8503360"/>
              <a:gd name="connsiteX7" fmla="*/ 0 w 8503360"/>
              <a:gd name="connsiteY7" fmla="*/ 99829 h 8503360"/>
              <a:gd name="connsiteX8" fmla="*/ 99829 w 8503360"/>
              <a:gd name="connsiteY8" fmla="*/ 0 h 850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3360" h="8503360">
                <a:moveTo>
                  <a:pt x="99829" y="0"/>
                </a:moveTo>
                <a:lnTo>
                  <a:pt x="8403531" y="0"/>
                </a:lnTo>
                <a:cubicBezTo>
                  <a:pt x="8458665" y="0"/>
                  <a:pt x="8503360" y="44695"/>
                  <a:pt x="8503360" y="99829"/>
                </a:cubicBezTo>
                <a:lnTo>
                  <a:pt x="8503360" y="8403531"/>
                </a:lnTo>
                <a:cubicBezTo>
                  <a:pt x="8503360" y="8458665"/>
                  <a:pt x="8458665" y="8503360"/>
                  <a:pt x="8403531" y="8503360"/>
                </a:cubicBezTo>
                <a:lnTo>
                  <a:pt x="99829" y="8503360"/>
                </a:lnTo>
                <a:cubicBezTo>
                  <a:pt x="44695" y="8503360"/>
                  <a:pt x="0" y="8458665"/>
                  <a:pt x="0" y="8403531"/>
                </a:cubicBezTo>
                <a:lnTo>
                  <a:pt x="0" y="99829"/>
                </a:lnTo>
                <a:cubicBezTo>
                  <a:pt x="0" y="44695"/>
                  <a:pt x="44695" y="0"/>
                  <a:pt x="99829" y="0"/>
                </a:cubicBezTo>
                <a:close/>
              </a:path>
            </a:pathLst>
          </a:custGeom>
          <a:solidFill>
            <a:schemeClr val="bg2">
              <a:lumMod val="95000"/>
            </a:schemeClr>
          </a:solidFill>
          <a:ln>
            <a:noFill/>
          </a:ln>
          <a:effectLst/>
        </p:spPr>
        <p:txBody>
          <a:bodyPr wrap="square" anchor="ctr">
            <a:noAutofit/>
          </a:bodyPr>
          <a:lstStyle>
            <a:lvl1pPr marL="0" indent="0" algn="ctr">
              <a:buFontTx/>
              <a:buNone/>
              <a:defRPr sz="900" b="0" i="0">
                <a:latin typeface="Poppins Light" pitchFamily="2" charset="77"/>
                <a:cs typeface="Poppins Light" pitchFamily="2" charset="77"/>
              </a:defRPr>
            </a:lvl1pPr>
          </a:lstStyle>
          <a:p>
            <a:endParaRPr lang="en-US" dirty="0"/>
          </a:p>
        </p:txBody>
      </p:sp>
    </p:spTree>
    <p:extLst>
      <p:ext uri="{BB962C8B-B14F-4D97-AF65-F5344CB8AC3E}">
        <p14:creationId xmlns:p14="http://schemas.microsoft.com/office/powerpoint/2010/main" val="1025501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562192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a:t>
            </a:r>
            <a:r>
              <a:rPr lang="en-US"/>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10" r:id="rId6"/>
    <p:sldLayoutId id="2147483711" r:id="rId7"/>
    <p:sldLayoutId id="2147483726" r:id="rId8"/>
    <p:sldLayoutId id="2147483764" r:id="rId9"/>
    <p:sldLayoutId id="2147483762" r:id="rId10"/>
    <p:sldLayoutId id="2147483761" r:id="rId11"/>
    <p:sldLayoutId id="2147483763" r:id="rId12"/>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90B616-241D-4DFE-BC2F-C001ED77E825}"/>
              </a:ext>
            </a:extLst>
          </p:cNvPr>
          <p:cNvSpPr>
            <a:spLocks noGrp="1"/>
          </p:cNvSpPr>
          <p:nvPr>
            <p:ph type="title"/>
          </p:nvPr>
        </p:nvSpPr>
        <p:spPr>
          <a:xfrm>
            <a:off x="172593" y="457200"/>
            <a:ext cx="8798814" cy="630936"/>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8AE909E-CC4A-4E51-BC02-B893225D2B31}"/>
              </a:ext>
            </a:extLst>
          </p:cNvPr>
          <p:cNvSpPr>
            <a:spLocks noGrp="1"/>
          </p:cNvSpPr>
          <p:nvPr>
            <p:ph type="body" idx="1"/>
          </p:nvPr>
        </p:nvSpPr>
        <p:spPr>
          <a:xfrm>
            <a:off x="172593" y="1825625"/>
            <a:ext cx="8798814"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43B6EE4-1695-4DD6-9758-84FFE963D6AE}"/>
              </a:ext>
            </a:extLst>
          </p:cNvPr>
          <p:cNvSpPr>
            <a:spLocks noGrp="1"/>
          </p:cNvSpPr>
          <p:nvPr>
            <p:ph type="dt" sz="half" idx="2"/>
          </p:nvPr>
        </p:nvSpPr>
        <p:spPr>
          <a:xfrm>
            <a:off x="172593"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78FDAD0-21E9-42D0-8C63-C6563197FC13}" type="datetimeFigureOut">
              <a:rPr lang="en-US" smtClean="0"/>
              <a:t>3/5/2024</a:t>
            </a:fld>
            <a:endParaRPr lang="en-US" dirty="0"/>
          </a:p>
        </p:txBody>
      </p:sp>
      <p:sp>
        <p:nvSpPr>
          <p:cNvPr id="5" name="Footer Placeholder 4">
            <a:extLst>
              <a:ext uri="{FF2B5EF4-FFF2-40B4-BE49-F238E27FC236}">
                <a16:creationId xmlns:a16="http://schemas.microsoft.com/office/drawing/2014/main" id="{7B43250D-A8F9-4682-AD84-FD37BCAA6297}"/>
              </a:ext>
            </a:extLst>
          </p:cNvPr>
          <p:cNvSpPr>
            <a:spLocks noGrp="1"/>
          </p:cNvSpPr>
          <p:nvPr>
            <p:ph type="ftr" sz="quarter" idx="3"/>
          </p:nvPr>
        </p:nvSpPr>
        <p:spPr>
          <a:xfrm>
            <a:off x="2346960" y="6356351"/>
            <a:ext cx="445008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C5E1A788-841D-41AB-A983-152B6532F723}"/>
              </a:ext>
            </a:extLst>
          </p:cNvPr>
          <p:cNvSpPr>
            <a:spLocks noGrp="1"/>
          </p:cNvSpPr>
          <p:nvPr>
            <p:ph type="sldNum" sz="quarter" idx="4"/>
          </p:nvPr>
        </p:nvSpPr>
        <p:spPr>
          <a:xfrm>
            <a:off x="6914007"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4DE3823-CC86-4AC6-95C0-DC3ECA80FD88}" type="slidenum">
              <a:rPr lang="en-US" smtClean="0"/>
              <a:t>‹#›</a:t>
            </a:fld>
            <a:endParaRPr lang="en-US" dirty="0"/>
          </a:p>
        </p:txBody>
      </p:sp>
    </p:spTree>
    <p:extLst>
      <p:ext uri="{BB962C8B-B14F-4D97-AF65-F5344CB8AC3E}">
        <p14:creationId xmlns:p14="http://schemas.microsoft.com/office/powerpoint/2010/main" val="294314106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Lst>
  <p:txStyles>
    <p:titleStyle>
      <a:lvl1pPr algn="ctr" defTabSz="685800" rtl="0" eaLnBrk="1" latinLnBrk="0" hangingPunct="1">
        <a:lnSpc>
          <a:spcPct val="90000"/>
        </a:lnSpc>
        <a:spcBef>
          <a:spcPts val="750"/>
        </a:spcBef>
        <a:buNone/>
        <a:defRPr sz="2700" b="1" kern="1200" cap="all"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3845915"/>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Lst>
  <p:hf hdr="0" ftr="0" dt="0"/>
  <p:txStyles>
    <p:titleStyle>
      <a:lvl1pPr>
        <a:defRPr>
          <a:latin typeface="+mj-lt"/>
          <a:ea typeface="+mj-ea"/>
          <a:cs typeface="+mj-cs"/>
        </a:defRPr>
      </a:lvl1pPr>
    </p:titleStyle>
    <p:bodyStyle>
      <a:lvl1pPr marL="0">
        <a:defRPr>
          <a:latin typeface="+mn-lt"/>
          <a:ea typeface="+mn-ea"/>
          <a:cs typeface="+mn-cs"/>
        </a:defRPr>
      </a:lvl1pPr>
      <a:lvl2pPr marL="207907">
        <a:defRPr>
          <a:latin typeface="+mn-lt"/>
          <a:ea typeface="+mn-ea"/>
          <a:cs typeface="+mn-cs"/>
        </a:defRPr>
      </a:lvl2pPr>
      <a:lvl3pPr marL="415814">
        <a:defRPr>
          <a:latin typeface="+mn-lt"/>
          <a:ea typeface="+mn-ea"/>
          <a:cs typeface="+mn-cs"/>
        </a:defRPr>
      </a:lvl3pPr>
      <a:lvl4pPr marL="623720">
        <a:defRPr>
          <a:latin typeface="+mn-lt"/>
          <a:ea typeface="+mn-ea"/>
          <a:cs typeface="+mn-cs"/>
        </a:defRPr>
      </a:lvl4pPr>
      <a:lvl5pPr marL="831627">
        <a:defRPr>
          <a:latin typeface="+mn-lt"/>
          <a:ea typeface="+mn-ea"/>
          <a:cs typeface="+mn-cs"/>
        </a:defRPr>
      </a:lvl5pPr>
      <a:lvl6pPr marL="1039534">
        <a:defRPr>
          <a:latin typeface="+mn-lt"/>
          <a:ea typeface="+mn-ea"/>
          <a:cs typeface="+mn-cs"/>
        </a:defRPr>
      </a:lvl6pPr>
      <a:lvl7pPr marL="1247441">
        <a:defRPr>
          <a:latin typeface="+mn-lt"/>
          <a:ea typeface="+mn-ea"/>
          <a:cs typeface="+mn-cs"/>
        </a:defRPr>
      </a:lvl7pPr>
      <a:lvl8pPr marL="1455348">
        <a:defRPr>
          <a:latin typeface="+mn-lt"/>
          <a:ea typeface="+mn-ea"/>
          <a:cs typeface="+mn-cs"/>
        </a:defRPr>
      </a:lvl8pPr>
      <a:lvl9pPr marL="1663255">
        <a:defRPr>
          <a:latin typeface="+mn-lt"/>
          <a:ea typeface="+mn-ea"/>
          <a:cs typeface="+mn-cs"/>
        </a:defRPr>
      </a:lvl9pPr>
    </p:bodyStyle>
    <p:otherStyle>
      <a:lvl1pPr marL="0">
        <a:defRPr>
          <a:latin typeface="+mn-lt"/>
          <a:ea typeface="+mn-ea"/>
          <a:cs typeface="+mn-cs"/>
        </a:defRPr>
      </a:lvl1pPr>
      <a:lvl2pPr marL="207907">
        <a:defRPr>
          <a:latin typeface="+mn-lt"/>
          <a:ea typeface="+mn-ea"/>
          <a:cs typeface="+mn-cs"/>
        </a:defRPr>
      </a:lvl2pPr>
      <a:lvl3pPr marL="415814">
        <a:defRPr>
          <a:latin typeface="+mn-lt"/>
          <a:ea typeface="+mn-ea"/>
          <a:cs typeface="+mn-cs"/>
        </a:defRPr>
      </a:lvl3pPr>
      <a:lvl4pPr marL="623720">
        <a:defRPr>
          <a:latin typeface="+mn-lt"/>
          <a:ea typeface="+mn-ea"/>
          <a:cs typeface="+mn-cs"/>
        </a:defRPr>
      </a:lvl4pPr>
      <a:lvl5pPr marL="831627">
        <a:defRPr>
          <a:latin typeface="+mn-lt"/>
          <a:ea typeface="+mn-ea"/>
          <a:cs typeface="+mn-cs"/>
        </a:defRPr>
      </a:lvl5pPr>
      <a:lvl6pPr marL="1039534">
        <a:defRPr>
          <a:latin typeface="+mn-lt"/>
          <a:ea typeface="+mn-ea"/>
          <a:cs typeface="+mn-cs"/>
        </a:defRPr>
      </a:lvl6pPr>
      <a:lvl7pPr marL="1247441">
        <a:defRPr>
          <a:latin typeface="+mn-lt"/>
          <a:ea typeface="+mn-ea"/>
          <a:cs typeface="+mn-cs"/>
        </a:defRPr>
      </a:lvl7pPr>
      <a:lvl8pPr marL="1455348">
        <a:defRPr>
          <a:latin typeface="+mn-lt"/>
          <a:ea typeface="+mn-ea"/>
          <a:cs typeface="+mn-cs"/>
        </a:defRPr>
      </a:lvl8pPr>
      <a:lvl9pPr marL="1663255">
        <a:defRPr>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3840">
          <p15:clr>
            <a:srgbClr val="F26B43"/>
          </p15:clr>
        </p15:guide>
        <p15:guide id="3" orient="horz" pos="381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6F78AFFA-F314-4090-834A-5BC682C706B3}" type="datetimeFigureOut">
              <a:rPr lang="en-ZA" smtClean="0"/>
              <a:t>2024/03/05</a:t>
            </a:fld>
            <a:endParaRPr lang="en-ZA"/>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AA5CF85-BC15-417D-911E-532B95DAE4DC}" type="slidenum">
              <a:rPr lang="en-ZA" smtClean="0"/>
              <a:t>‹#›</a:t>
            </a:fld>
            <a:endParaRPr lang="en-ZA"/>
          </a:p>
        </p:txBody>
      </p:sp>
    </p:spTree>
    <p:extLst>
      <p:ext uri="{BB962C8B-B14F-4D97-AF65-F5344CB8AC3E}">
        <p14:creationId xmlns:p14="http://schemas.microsoft.com/office/powerpoint/2010/main" val="2192917339"/>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hyperlink" Target="mailto:zmditshwa@wsu.ac.za" TargetMode="External"/><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image" Target="../media/image41.png"/><Relationship Id="rId5" Type="http://schemas.openxmlformats.org/officeDocument/2006/relationships/image" Target="../media/image25.png"/><Relationship Id="rId4" Type="http://schemas.openxmlformats.org/officeDocument/2006/relationships/image" Target="../media/image40.jpe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chart" Target="../charts/chart1.xml"/><Relationship Id="rId5" Type="http://schemas.openxmlformats.org/officeDocument/2006/relationships/image" Target="../media/image28.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24.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532822" y="2510444"/>
            <a:ext cx="7971097" cy="3341716"/>
          </a:xfrm>
        </p:spPr>
        <p:txBody>
          <a:bodyPr/>
          <a:lstStyle/>
          <a:p>
            <a:pPr algn="ctr"/>
            <a:r>
              <a:rPr lang="en-US" b="1" dirty="0">
                <a:solidFill>
                  <a:srgbClr val="3333FF"/>
                </a:solidFill>
              </a:rPr>
              <a:t>"Data-Driven Excellence through Advanced Technologies: Transforming Higher and Further Education for Efficiency and Impact," </a:t>
            </a:r>
          </a:p>
          <a:p>
            <a:pPr algn="ctr"/>
            <a:r>
              <a:rPr lang="en-US" b="1" dirty="0">
                <a:solidFill>
                  <a:srgbClr val="3333FF"/>
                </a:solidFill>
              </a:rPr>
              <a:t>Auto Graduation </a:t>
            </a:r>
          </a:p>
          <a:p>
            <a:pPr algn="ctr"/>
            <a:r>
              <a:rPr lang="en-US" dirty="0">
                <a:solidFill>
                  <a:srgbClr val="3333FF"/>
                </a:solidFill>
              </a:rPr>
              <a:t>By </a:t>
            </a:r>
          </a:p>
          <a:p>
            <a:pPr algn="ctr"/>
            <a:r>
              <a:rPr lang="en-US" dirty="0">
                <a:solidFill>
                  <a:srgbClr val="3333FF"/>
                </a:solidFill>
              </a:rPr>
              <a:t>Mr. Z.D  Mditshwa &amp; Ms. M Mhlabathi</a:t>
            </a:r>
          </a:p>
          <a:p>
            <a:pPr algn="ctr"/>
            <a:endParaRPr lang="en-US" b="1" dirty="0"/>
          </a:p>
          <a:p>
            <a:pPr algn="ctr"/>
            <a:endParaRPr lang="en-US" b="1" dirty="0"/>
          </a:p>
        </p:txBody>
      </p:sp>
      <p:pic>
        <p:nvPicPr>
          <p:cNvPr id="4" name="Picture 3">
            <a:extLst>
              <a:ext uri="{FF2B5EF4-FFF2-40B4-BE49-F238E27FC236}">
                <a16:creationId xmlns:a16="http://schemas.microsoft.com/office/drawing/2014/main" id="{683EAF79-D326-176B-E1DD-BF451D246E2F}"/>
              </a:ext>
            </a:extLst>
          </p:cNvPr>
          <p:cNvPicPr>
            <a:picLocks noChangeAspect="1"/>
          </p:cNvPicPr>
          <p:nvPr/>
        </p:nvPicPr>
        <p:blipFill>
          <a:blip r:embed="rId3"/>
          <a:stretch>
            <a:fillRect/>
          </a:stretch>
        </p:blipFill>
        <p:spPr>
          <a:xfrm>
            <a:off x="4671751" y="0"/>
            <a:ext cx="4505499" cy="2092579"/>
          </a:xfrm>
          <a:prstGeom prst="rect">
            <a:avLst/>
          </a:prstGeom>
        </p:spPr>
      </p:pic>
      <p:pic>
        <p:nvPicPr>
          <p:cNvPr id="6" name="Picture 5">
            <a:extLst>
              <a:ext uri="{FF2B5EF4-FFF2-40B4-BE49-F238E27FC236}">
                <a16:creationId xmlns:a16="http://schemas.microsoft.com/office/drawing/2014/main" id="{CDF96816-2C91-C9F3-50F8-CCE8548F21D4}"/>
              </a:ext>
            </a:extLst>
          </p:cNvPr>
          <p:cNvPicPr>
            <a:picLocks noChangeAspect="1"/>
          </p:cNvPicPr>
          <p:nvPr/>
        </p:nvPicPr>
        <p:blipFill>
          <a:blip r:embed="rId4"/>
          <a:stretch>
            <a:fillRect/>
          </a:stretch>
        </p:blipFill>
        <p:spPr>
          <a:xfrm>
            <a:off x="166252" y="0"/>
            <a:ext cx="4505499" cy="2092580"/>
          </a:xfrm>
          <a:prstGeom prst="rect">
            <a:avLst/>
          </a:prstGeom>
        </p:spPr>
      </p:pic>
      <p:pic>
        <p:nvPicPr>
          <p:cNvPr id="13" name="Picture 12">
            <a:extLst>
              <a:ext uri="{FF2B5EF4-FFF2-40B4-BE49-F238E27FC236}">
                <a16:creationId xmlns:a16="http://schemas.microsoft.com/office/drawing/2014/main" id="{66ACFAA1-B064-1AA9-BA8E-6E03B8095F37}"/>
              </a:ext>
            </a:extLst>
          </p:cNvPr>
          <p:cNvPicPr>
            <a:picLocks noChangeAspect="1"/>
          </p:cNvPicPr>
          <p:nvPr/>
        </p:nvPicPr>
        <p:blipFill>
          <a:blip r:embed="rId5"/>
          <a:stretch>
            <a:fillRect/>
          </a:stretch>
        </p:blipFill>
        <p:spPr>
          <a:xfrm>
            <a:off x="0" y="6084916"/>
            <a:ext cx="9144000" cy="773084"/>
          </a:xfrm>
          <a:prstGeom prst="rect">
            <a:avLst/>
          </a:prstGeom>
        </p:spPr>
      </p:pic>
    </p:spTree>
    <p:extLst>
      <p:ext uri="{BB962C8B-B14F-4D97-AF65-F5344CB8AC3E}">
        <p14:creationId xmlns:p14="http://schemas.microsoft.com/office/powerpoint/2010/main" val="28824675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3">
            <a:extLst>
              <a:ext uri="{FF2B5EF4-FFF2-40B4-BE49-F238E27FC236}">
                <a16:creationId xmlns:a16="http://schemas.microsoft.com/office/drawing/2014/main" id="{47D8645D-4AE7-8A4B-B291-59E875837794}"/>
              </a:ext>
            </a:extLst>
          </p:cNvPr>
          <p:cNvSpPr>
            <a:spLocks noChangeArrowheads="1"/>
          </p:cNvSpPr>
          <p:nvPr/>
        </p:nvSpPr>
        <p:spPr bwMode="auto">
          <a:xfrm>
            <a:off x="31271" y="1425637"/>
            <a:ext cx="4300416" cy="4391990"/>
          </a:xfrm>
          <a:custGeom>
            <a:avLst/>
            <a:gdLst>
              <a:gd name="T0" fmla="*/ 5929889 w 9080"/>
              <a:gd name="T1" fmla="*/ 6143031 h 9407"/>
              <a:gd name="T2" fmla="*/ 0 w 9080"/>
              <a:gd name="T3" fmla="*/ 6143031 h 9407"/>
              <a:gd name="T4" fmla="*/ 0 w 9080"/>
              <a:gd name="T5" fmla="*/ 0 h 9407"/>
              <a:gd name="T6" fmla="*/ 5929889 w 9080"/>
              <a:gd name="T7" fmla="*/ 0 h 9407"/>
              <a:gd name="T8" fmla="*/ 5929889 w 9080"/>
              <a:gd name="T9" fmla="*/ 6143031 h 94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80" h="9407">
                <a:moveTo>
                  <a:pt x="9079" y="9406"/>
                </a:moveTo>
                <a:lnTo>
                  <a:pt x="0" y="9406"/>
                </a:lnTo>
                <a:lnTo>
                  <a:pt x="0" y="0"/>
                </a:lnTo>
                <a:lnTo>
                  <a:pt x="9079" y="0"/>
                </a:lnTo>
                <a:lnTo>
                  <a:pt x="9079" y="9406"/>
                </a:lnTo>
              </a:path>
            </a:pathLst>
          </a:custGeom>
          <a:solidFill>
            <a:srgbClr val="BDCDE4"/>
          </a:solidFill>
          <a:ln>
            <a:noFill/>
          </a:ln>
          <a:effectLst/>
        </p:spPr>
        <p:txBody>
          <a:bodyPr wrap="none" anchor="ctr"/>
          <a:lstStyle/>
          <a:p>
            <a:pPr defTabSz="685800"/>
            <a:endParaRPr lang="en-US" sz="1350" dirty="0">
              <a:solidFill>
                <a:prstClr val="black"/>
              </a:solidFill>
              <a:latin typeface="Poppins" pitchFamily="2" charset="77"/>
            </a:endParaRPr>
          </a:p>
        </p:txBody>
      </p:sp>
      <p:sp>
        <p:nvSpPr>
          <p:cNvPr id="13" name="Freeform 53">
            <a:extLst>
              <a:ext uri="{FF2B5EF4-FFF2-40B4-BE49-F238E27FC236}">
                <a16:creationId xmlns:a16="http://schemas.microsoft.com/office/drawing/2014/main" id="{C10E9967-64C7-2048-8EEB-3140B939A541}"/>
              </a:ext>
            </a:extLst>
          </p:cNvPr>
          <p:cNvSpPr>
            <a:spLocks noChangeArrowheads="1"/>
          </p:cNvSpPr>
          <p:nvPr/>
        </p:nvSpPr>
        <p:spPr bwMode="auto">
          <a:xfrm>
            <a:off x="1917889" y="4356610"/>
            <a:ext cx="335624" cy="8237"/>
          </a:xfrm>
          <a:custGeom>
            <a:avLst/>
            <a:gdLst>
              <a:gd name="T0" fmla="*/ 468833 w 717"/>
              <a:gd name="T1" fmla="*/ 10843 h 17"/>
              <a:gd name="T2" fmla="*/ 0 w 717"/>
              <a:gd name="T3" fmla="*/ 10843 h 17"/>
              <a:gd name="T4" fmla="*/ 0 w 717"/>
              <a:gd name="T5" fmla="*/ 0 h 17"/>
              <a:gd name="T6" fmla="*/ 468833 w 717"/>
              <a:gd name="T7" fmla="*/ 0 h 17"/>
              <a:gd name="T8" fmla="*/ 468833 w 717"/>
              <a:gd name="T9" fmla="*/ 10843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7" h="17">
                <a:moveTo>
                  <a:pt x="716" y="16"/>
                </a:moveTo>
                <a:lnTo>
                  <a:pt x="0" y="16"/>
                </a:lnTo>
                <a:lnTo>
                  <a:pt x="0" y="0"/>
                </a:lnTo>
                <a:lnTo>
                  <a:pt x="716" y="0"/>
                </a:lnTo>
                <a:lnTo>
                  <a:pt x="716" y="16"/>
                </a:lnTo>
              </a:path>
            </a:pathLst>
          </a:custGeom>
          <a:solidFill>
            <a:schemeClr val="bg1"/>
          </a:solidFill>
          <a:ln>
            <a:noFill/>
          </a:ln>
          <a:effectLst/>
        </p:spPr>
        <p:txBody>
          <a:bodyPr wrap="none" anchor="ctr"/>
          <a:lstStyle/>
          <a:p>
            <a:pPr defTabSz="685800"/>
            <a:endParaRPr lang="en-US" sz="1350" dirty="0">
              <a:solidFill>
                <a:prstClr val="black"/>
              </a:solidFill>
              <a:latin typeface="Poppins" pitchFamily="2" charset="77"/>
            </a:endParaRPr>
          </a:p>
        </p:txBody>
      </p:sp>
      <p:sp>
        <p:nvSpPr>
          <p:cNvPr id="14" name="Freeform 69">
            <a:extLst>
              <a:ext uri="{FF2B5EF4-FFF2-40B4-BE49-F238E27FC236}">
                <a16:creationId xmlns:a16="http://schemas.microsoft.com/office/drawing/2014/main" id="{25C987C9-A2F6-B545-9E54-AD4752DA1700}"/>
              </a:ext>
            </a:extLst>
          </p:cNvPr>
          <p:cNvSpPr>
            <a:spLocks noChangeArrowheads="1"/>
          </p:cNvSpPr>
          <p:nvPr/>
        </p:nvSpPr>
        <p:spPr bwMode="auto">
          <a:xfrm>
            <a:off x="1917889" y="4762246"/>
            <a:ext cx="335624" cy="8237"/>
          </a:xfrm>
          <a:custGeom>
            <a:avLst/>
            <a:gdLst>
              <a:gd name="T0" fmla="*/ 468833 w 717"/>
              <a:gd name="T1" fmla="*/ 10881 h 18"/>
              <a:gd name="T2" fmla="*/ 0 w 717"/>
              <a:gd name="T3" fmla="*/ 10881 h 18"/>
              <a:gd name="T4" fmla="*/ 0 w 717"/>
              <a:gd name="T5" fmla="*/ 0 h 18"/>
              <a:gd name="T6" fmla="*/ 468833 w 717"/>
              <a:gd name="T7" fmla="*/ 0 h 18"/>
              <a:gd name="T8" fmla="*/ 468833 w 717"/>
              <a:gd name="T9" fmla="*/ 10881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7" h="18">
                <a:moveTo>
                  <a:pt x="716" y="17"/>
                </a:moveTo>
                <a:lnTo>
                  <a:pt x="0" y="17"/>
                </a:lnTo>
                <a:lnTo>
                  <a:pt x="0" y="0"/>
                </a:lnTo>
                <a:lnTo>
                  <a:pt x="716" y="0"/>
                </a:lnTo>
                <a:lnTo>
                  <a:pt x="716" y="17"/>
                </a:lnTo>
              </a:path>
            </a:pathLst>
          </a:custGeom>
          <a:solidFill>
            <a:schemeClr val="bg1"/>
          </a:solidFill>
          <a:ln>
            <a:noFill/>
          </a:ln>
          <a:effectLst/>
        </p:spPr>
        <p:txBody>
          <a:bodyPr wrap="none" anchor="ctr"/>
          <a:lstStyle/>
          <a:p>
            <a:pPr defTabSz="685800"/>
            <a:endParaRPr lang="en-US" sz="1350" dirty="0">
              <a:solidFill>
                <a:prstClr val="black"/>
              </a:solidFill>
              <a:latin typeface="Poppins" pitchFamily="2" charset="77"/>
            </a:endParaRPr>
          </a:p>
        </p:txBody>
      </p:sp>
      <p:sp>
        <p:nvSpPr>
          <p:cNvPr id="15" name="Freeform 89">
            <a:extLst>
              <a:ext uri="{FF2B5EF4-FFF2-40B4-BE49-F238E27FC236}">
                <a16:creationId xmlns:a16="http://schemas.microsoft.com/office/drawing/2014/main" id="{C4F16233-B626-E441-B319-8D7F8A5E8B2D}"/>
              </a:ext>
            </a:extLst>
          </p:cNvPr>
          <p:cNvSpPr>
            <a:spLocks noChangeArrowheads="1"/>
          </p:cNvSpPr>
          <p:nvPr/>
        </p:nvSpPr>
        <p:spPr bwMode="auto">
          <a:xfrm>
            <a:off x="1917889" y="5165824"/>
            <a:ext cx="335624" cy="8237"/>
          </a:xfrm>
          <a:custGeom>
            <a:avLst/>
            <a:gdLst>
              <a:gd name="T0" fmla="*/ 468833 w 717"/>
              <a:gd name="T1" fmla="*/ 10881 h 18"/>
              <a:gd name="T2" fmla="*/ 0 w 717"/>
              <a:gd name="T3" fmla="*/ 10881 h 18"/>
              <a:gd name="T4" fmla="*/ 0 w 717"/>
              <a:gd name="T5" fmla="*/ 0 h 18"/>
              <a:gd name="T6" fmla="*/ 468833 w 717"/>
              <a:gd name="T7" fmla="*/ 0 h 18"/>
              <a:gd name="T8" fmla="*/ 468833 w 717"/>
              <a:gd name="T9" fmla="*/ 10881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7" h="18">
                <a:moveTo>
                  <a:pt x="716" y="17"/>
                </a:moveTo>
                <a:lnTo>
                  <a:pt x="0" y="17"/>
                </a:lnTo>
                <a:lnTo>
                  <a:pt x="0" y="0"/>
                </a:lnTo>
                <a:lnTo>
                  <a:pt x="716" y="0"/>
                </a:lnTo>
                <a:lnTo>
                  <a:pt x="716" y="17"/>
                </a:lnTo>
              </a:path>
            </a:pathLst>
          </a:custGeom>
          <a:solidFill>
            <a:schemeClr val="bg1"/>
          </a:solidFill>
          <a:ln>
            <a:noFill/>
          </a:ln>
          <a:effectLst/>
        </p:spPr>
        <p:txBody>
          <a:bodyPr wrap="none" anchor="ctr"/>
          <a:lstStyle/>
          <a:p>
            <a:pPr defTabSz="685800"/>
            <a:endParaRPr lang="en-US" sz="1350" dirty="0">
              <a:solidFill>
                <a:prstClr val="black"/>
              </a:solidFill>
              <a:latin typeface="Poppins" pitchFamily="2" charset="77"/>
            </a:endParaRPr>
          </a:p>
        </p:txBody>
      </p:sp>
      <p:sp>
        <p:nvSpPr>
          <p:cNvPr id="4" name="TextBox 3">
            <a:extLst>
              <a:ext uri="{FF2B5EF4-FFF2-40B4-BE49-F238E27FC236}">
                <a16:creationId xmlns:a16="http://schemas.microsoft.com/office/drawing/2014/main" id="{8CC8A1A5-FF18-D344-B310-AE51BA4F9058}"/>
              </a:ext>
            </a:extLst>
          </p:cNvPr>
          <p:cNvSpPr txBox="1"/>
          <p:nvPr/>
        </p:nvSpPr>
        <p:spPr>
          <a:xfrm>
            <a:off x="2358835" y="3950626"/>
            <a:ext cx="2395210" cy="288541"/>
          </a:xfrm>
          <a:prstGeom prst="rect">
            <a:avLst/>
          </a:prstGeom>
          <a:noFill/>
        </p:spPr>
        <p:txBody>
          <a:bodyPr wrap="square" rtlCol="0" anchor="b">
            <a:spAutoFit/>
          </a:bodyPr>
          <a:lstStyle/>
          <a:p>
            <a:pPr defTabSz="685800"/>
            <a:r>
              <a:rPr lang="en-US" sz="1275" b="1" spc="-11" dirty="0">
                <a:solidFill>
                  <a:prstClr val="white"/>
                </a:solidFill>
                <a:latin typeface="Poppins" pitchFamily="2" charset="77"/>
                <a:cs typeface="Poppins" pitchFamily="2" charset="77"/>
              </a:rPr>
              <a:t>GET IN TOUCH</a:t>
            </a:r>
          </a:p>
        </p:txBody>
      </p:sp>
      <p:sp>
        <p:nvSpPr>
          <p:cNvPr id="5" name="TextBox 4">
            <a:extLst>
              <a:ext uri="{FF2B5EF4-FFF2-40B4-BE49-F238E27FC236}">
                <a16:creationId xmlns:a16="http://schemas.microsoft.com/office/drawing/2014/main" id="{662EDCBB-5489-5A4B-A611-1AF67C71E463}"/>
              </a:ext>
            </a:extLst>
          </p:cNvPr>
          <p:cNvSpPr txBox="1"/>
          <p:nvPr/>
        </p:nvSpPr>
        <p:spPr>
          <a:xfrm>
            <a:off x="2358835" y="4252350"/>
            <a:ext cx="2395211" cy="259302"/>
          </a:xfrm>
          <a:prstGeom prst="rect">
            <a:avLst/>
          </a:prstGeom>
          <a:noFill/>
        </p:spPr>
        <p:txBody>
          <a:bodyPr wrap="square" rtlCol="0">
            <a:spAutoFit/>
          </a:bodyPr>
          <a:lstStyle/>
          <a:p>
            <a:pPr defTabSz="685800">
              <a:lnSpc>
                <a:spcPts val="1350"/>
              </a:lnSpc>
            </a:pPr>
            <a:r>
              <a:rPr lang="en-US" sz="900" b="1" spc="-8" dirty="0">
                <a:latin typeface="Poppins" pitchFamily="2" charset="77"/>
                <a:cs typeface="Poppins" pitchFamily="2" charset="77"/>
              </a:rPr>
              <a:t>Mamiki Mhlabathi– AGU</a:t>
            </a:r>
          </a:p>
        </p:txBody>
      </p:sp>
      <p:sp>
        <p:nvSpPr>
          <p:cNvPr id="6" name="TextBox 5">
            <a:extLst>
              <a:ext uri="{FF2B5EF4-FFF2-40B4-BE49-F238E27FC236}">
                <a16:creationId xmlns:a16="http://schemas.microsoft.com/office/drawing/2014/main" id="{2BB30F19-552A-6E42-99D8-4ECB70FF9BD7}"/>
              </a:ext>
            </a:extLst>
          </p:cNvPr>
          <p:cNvSpPr txBox="1"/>
          <p:nvPr/>
        </p:nvSpPr>
        <p:spPr>
          <a:xfrm>
            <a:off x="2358835" y="4632595"/>
            <a:ext cx="1856951" cy="259302"/>
          </a:xfrm>
          <a:prstGeom prst="rect">
            <a:avLst/>
          </a:prstGeom>
          <a:noFill/>
        </p:spPr>
        <p:txBody>
          <a:bodyPr wrap="square" rtlCol="0">
            <a:spAutoFit/>
          </a:bodyPr>
          <a:lstStyle/>
          <a:p>
            <a:pPr defTabSz="685800">
              <a:lnSpc>
                <a:spcPts val="1350"/>
              </a:lnSpc>
            </a:pPr>
            <a:r>
              <a:rPr lang="en-US" sz="900" spc="-8" dirty="0">
                <a:solidFill>
                  <a:srgbClr val="595959"/>
                </a:solidFill>
                <a:latin typeface="Poppins" pitchFamily="2" charset="77"/>
                <a:cs typeface="Poppins" pitchFamily="2" charset="77"/>
              </a:rPr>
              <a:t>+</a:t>
            </a:r>
            <a:r>
              <a:rPr lang="en-US" sz="900" b="1" spc="-8" dirty="0">
                <a:latin typeface="Poppins" pitchFamily="2" charset="77"/>
                <a:cs typeface="Poppins" pitchFamily="2" charset="77"/>
              </a:rPr>
              <a:t>27(051) 507 3478</a:t>
            </a:r>
          </a:p>
        </p:txBody>
      </p:sp>
      <p:pic>
        <p:nvPicPr>
          <p:cNvPr id="21" name="Picture Placeholder 20"/>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r="33252"/>
          <a:stretch/>
        </p:blipFill>
        <p:spPr>
          <a:xfrm>
            <a:off x="31271" y="-14755"/>
            <a:ext cx="4239576" cy="3670056"/>
          </a:xfrm>
        </p:spPr>
      </p:pic>
      <p:sp>
        <p:nvSpPr>
          <p:cNvPr id="7" name="TextBox 6">
            <a:extLst>
              <a:ext uri="{FF2B5EF4-FFF2-40B4-BE49-F238E27FC236}">
                <a16:creationId xmlns:a16="http://schemas.microsoft.com/office/drawing/2014/main" id="{F8371E89-D25F-814D-81CE-C6069150CF16}"/>
              </a:ext>
            </a:extLst>
          </p:cNvPr>
          <p:cNvSpPr txBox="1"/>
          <p:nvPr/>
        </p:nvSpPr>
        <p:spPr>
          <a:xfrm>
            <a:off x="2358835" y="5062434"/>
            <a:ext cx="2395211" cy="259302"/>
          </a:xfrm>
          <a:prstGeom prst="rect">
            <a:avLst/>
          </a:prstGeom>
          <a:noFill/>
        </p:spPr>
        <p:txBody>
          <a:bodyPr wrap="square" rtlCol="0">
            <a:spAutoFit/>
          </a:bodyPr>
          <a:lstStyle/>
          <a:p>
            <a:pPr defTabSz="685800">
              <a:lnSpc>
                <a:spcPts val="1350"/>
              </a:lnSpc>
            </a:pPr>
            <a:r>
              <a:rPr lang="en-US" sz="900" b="1" spc="-8" dirty="0">
                <a:latin typeface="Poppins" pitchFamily="2" charset="77"/>
                <a:cs typeface="Poppins" pitchFamily="2" charset="77"/>
              </a:rPr>
              <a:t>mhlabathi@cut.ac.za</a:t>
            </a:r>
          </a:p>
        </p:txBody>
      </p:sp>
      <p:sp>
        <p:nvSpPr>
          <p:cNvPr id="8" name="TextBox 7">
            <a:extLst>
              <a:ext uri="{FF2B5EF4-FFF2-40B4-BE49-F238E27FC236}">
                <a16:creationId xmlns:a16="http://schemas.microsoft.com/office/drawing/2014/main" id="{1327AD0D-2FD7-E047-9FD2-2F0503988F99}"/>
              </a:ext>
            </a:extLst>
          </p:cNvPr>
          <p:cNvSpPr txBox="1"/>
          <p:nvPr/>
        </p:nvSpPr>
        <p:spPr>
          <a:xfrm>
            <a:off x="2625374" y="2075683"/>
            <a:ext cx="2871574" cy="1015663"/>
          </a:xfrm>
          <a:prstGeom prst="rect">
            <a:avLst/>
          </a:prstGeom>
          <a:noFill/>
        </p:spPr>
        <p:txBody>
          <a:bodyPr wrap="square" rtlCol="0" anchor="b">
            <a:spAutoFit/>
          </a:bodyPr>
          <a:lstStyle/>
          <a:p>
            <a:pPr defTabSz="685800"/>
            <a:r>
              <a:rPr lang="en-US" sz="6000" b="1" spc="-225" dirty="0">
                <a:solidFill>
                  <a:prstClr val="white"/>
                </a:solidFill>
                <a:latin typeface="Poppins" pitchFamily="2" charset="77"/>
                <a:cs typeface="Poppins" pitchFamily="2" charset="77"/>
              </a:rPr>
              <a:t>THANK</a:t>
            </a:r>
          </a:p>
        </p:txBody>
      </p:sp>
      <p:sp>
        <p:nvSpPr>
          <p:cNvPr id="9" name="TextBox 8">
            <a:extLst>
              <a:ext uri="{FF2B5EF4-FFF2-40B4-BE49-F238E27FC236}">
                <a16:creationId xmlns:a16="http://schemas.microsoft.com/office/drawing/2014/main" id="{D0A5CE5C-9678-9249-905B-C30583909F41}"/>
              </a:ext>
            </a:extLst>
          </p:cNvPr>
          <p:cNvSpPr txBox="1"/>
          <p:nvPr/>
        </p:nvSpPr>
        <p:spPr>
          <a:xfrm>
            <a:off x="4075884" y="2087007"/>
            <a:ext cx="4206329" cy="1015663"/>
          </a:xfrm>
          <a:prstGeom prst="rect">
            <a:avLst/>
          </a:prstGeom>
          <a:noFill/>
        </p:spPr>
        <p:txBody>
          <a:bodyPr wrap="square" rtlCol="0" anchor="b">
            <a:spAutoFit/>
          </a:bodyPr>
          <a:lstStyle/>
          <a:p>
            <a:pPr defTabSz="685800"/>
            <a:r>
              <a:rPr lang="en-US" sz="6000" b="1" spc="-225" dirty="0" err="1">
                <a:solidFill>
                  <a:prstClr val="white"/>
                </a:solidFill>
                <a:latin typeface="Poppins" pitchFamily="2" charset="77"/>
                <a:cs typeface="Poppins" pitchFamily="2" charset="77"/>
              </a:rPr>
              <a:t>OUt</a:t>
            </a:r>
            <a:endParaRPr lang="en-US" sz="6000" b="1" spc="-225" dirty="0">
              <a:solidFill>
                <a:prstClr val="white"/>
              </a:solidFill>
              <a:latin typeface="Poppins" pitchFamily="2" charset="77"/>
              <a:cs typeface="Poppins" pitchFamily="2" charset="77"/>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70" y="5876566"/>
            <a:ext cx="1207326" cy="981434"/>
          </a:xfrm>
          <a:prstGeom prst="rect">
            <a:avLst/>
          </a:prstGeom>
        </p:spPr>
      </p:pic>
      <p:sp>
        <p:nvSpPr>
          <p:cNvPr id="24" name="TextBox 23">
            <a:extLst>
              <a:ext uri="{FF2B5EF4-FFF2-40B4-BE49-F238E27FC236}">
                <a16:creationId xmlns:a16="http://schemas.microsoft.com/office/drawing/2014/main" id="{328A9510-044F-734E-BA71-98FFC1FEB327}"/>
              </a:ext>
            </a:extLst>
          </p:cNvPr>
          <p:cNvSpPr txBox="1"/>
          <p:nvPr/>
        </p:nvSpPr>
        <p:spPr>
          <a:xfrm>
            <a:off x="1176838" y="5828951"/>
            <a:ext cx="3154849" cy="815608"/>
          </a:xfrm>
          <a:prstGeom prst="rect">
            <a:avLst/>
          </a:prstGeom>
          <a:noFill/>
        </p:spPr>
        <p:txBody>
          <a:bodyPr wrap="square" rtlCol="0" anchor="t">
            <a:spAutoFit/>
          </a:bodyPr>
          <a:lstStyle/>
          <a:p>
            <a:pPr algn="r" defTabSz="685800">
              <a:lnSpc>
                <a:spcPts val="6375"/>
              </a:lnSpc>
            </a:pPr>
            <a:r>
              <a:rPr lang="en-US" sz="3000" b="1" spc="-281" dirty="0">
                <a:ln w="12700">
                  <a:solidFill>
                    <a:srgbClr val="055588"/>
                  </a:solidFill>
                  <a:miter lim="800000"/>
                </a:ln>
                <a:noFill/>
                <a:latin typeface="Poppins" pitchFamily="2" charset="77"/>
                <a:cs typeface="Poppins" pitchFamily="2" charset="77"/>
              </a:rPr>
              <a:t>Thinking Beyond</a:t>
            </a:r>
          </a:p>
        </p:txBody>
      </p:sp>
      <p:pic>
        <p:nvPicPr>
          <p:cNvPr id="2" name="Picture 1">
            <a:extLst>
              <a:ext uri="{FF2B5EF4-FFF2-40B4-BE49-F238E27FC236}">
                <a16:creationId xmlns:a16="http://schemas.microsoft.com/office/drawing/2014/main" id="{D51BFF5E-C982-2DC2-6373-538B4C28DDB9}"/>
              </a:ext>
            </a:extLst>
          </p:cNvPr>
          <p:cNvPicPr>
            <a:picLocks noChangeAspect="1"/>
          </p:cNvPicPr>
          <p:nvPr/>
        </p:nvPicPr>
        <p:blipFill>
          <a:blip r:embed="rId5"/>
          <a:stretch>
            <a:fillRect/>
          </a:stretch>
        </p:blipFill>
        <p:spPr>
          <a:xfrm>
            <a:off x="6747871" y="5321737"/>
            <a:ext cx="2287231" cy="1536264"/>
          </a:xfrm>
          <a:prstGeom prst="rect">
            <a:avLst/>
          </a:prstGeom>
        </p:spPr>
      </p:pic>
      <p:sp>
        <p:nvSpPr>
          <p:cNvPr id="3" name="TextBox 2">
            <a:extLst>
              <a:ext uri="{FF2B5EF4-FFF2-40B4-BE49-F238E27FC236}">
                <a16:creationId xmlns:a16="http://schemas.microsoft.com/office/drawing/2014/main" id="{4BCE78F0-54BE-F28E-6A11-0BA8A2FF0953}"/>
              </a:ext>
            </a:extLst>
          </p:cNvPr>
          <p:cNvSpPr txBox="1"/>
          <p:nvPr/>
        </p:nvSpPr>
        <p:spPr>
          <a:xfrm>
            <a:off x="4812316" y="5267259"/>
            <a:ext cx="2130351" cy="1938992"/>
          </a:xfrm>
          <a:prstGeom prst="rect">
            <a:avLst/>
          </a:prstGeom>
          <a:noFill/>
        </p:spPr>
        <p:txBody>
          <a:bodyPr wrap="square" rtlCol="0">
            <a:spAutoFit/>
          </a:bodyPr>
          <a:lstStyle/>
          <a:p>
            <a:endParaRPr lang="en-ZA" sz="2000" b="1" dirty="0">
              <a:latin typeface="Poppins" panose="00000500000000000000" pitchFamily="2" charset="0"/>
              <a:cs typeface="Poppins" panose="00000500000000000000" pitchFamily="2" charset="0"/>
            </a:endParaRPr>
          </a:p>
          <a:p>
            <a:endParaRPr lang="en-ZA" sz="2000" b="1" dirty="0">
              <a:latin typeface="Poppins" panose="00000500000000000000" pitchFamily="2" charset="0"/>
              <a:cs typeface="Poppins" panose="00000500000000000000" pitchFamily="2" charset="0"/>
            </a:endParaRPr>
          </a:p>
          <a:p>
            <a:pPr algn="ctr"/>
            <a:r>
              <a:rPr lang="en-ZA" sz="2000" b="1" dirty="0">
                <a:latin typeface="Poppins" panose="00000500000000000000" pitchFamily="2" charset="0"/>
                <a:cs typeface="Poppins" panose="00000500000000000000" pitchFamily="2" charset="0"/>
              </a:rPr>
              <a:t>In pursuit of excellence</a:t>
            </a:r>
          </a:p>
          <a:p>
            <a:endParaRPr lang="en-ZA" sz="2000" dirty="0"/>
          </a:p>
          <a:p>
            <a:r>
              <a:rPr lang="en-ZA" sz="2000" dirty="0"/>
              <a:t> </a:t>
            </a:r>
          </a:p>
        </p:txBody>
      </p:sp>
      <p:pic>
        <p:nvPicPr>
          <p:cNvPr id="20" name="Picture 19">
            <a:extLst>
              <a:ext uri="{FF2B5EF4-FFF2-40B4-BE49-F238E27FC236}">
                <a16:creationId xmlns:a16="http://schemas.microsoft.com/office/drawing/2014/main" id="{DB67CD8C-C77E-ACA7-9617-23FAC87B39AC}"/>
              </a:ext>
            </a:extLst>
          </p:cNvPr>
          <p:cNvPicPr>
            <a:picLocks noChangeAspect="1"/>
          </p:cNvPicPr>
          <p:nvPr/>
        </p:nvPicPr>
        <p:blipFill>
          <a:blip r:embed="rId6"/>
          <a:stretch>
            <a:fillRect/>
          </a:stretch>
        </p:blipFill>
        <p:spPr>
          <a:xfrm>
            <a:off x="4538691" y="49215"/>
            <a:ext cx="4605309" cy="3350629"/>
          </a:xfrm>
          <a:prstGeom prst="rect">
            <a:avLst/>
          </a:prstGeom>
        </p:spPr>
      </p:pic>
      <p:sp>
        <p:nvSpPr>
          <p:cNvPr id="12" name="TextBox 11">
            <a:extLst>
              <a:ext uri="{FF2B5EF4-FFF2-40B4-BE49-F238E27FC236}">
                <a16:creationId xmlns:a16="http://schemas.microsoft.com/office/drawing/2014/main" id="{E3A3A78C-2DD9-F1B4-8D4F-1E0630646FF2}"/>
              </a:ext>
            </a:extLst>
          </p:cNvPr>
          <p:cNvSpPr txBox="1"/>
          <p:nvPr/>
        </p:nvSpPr>
        <p:spPr>
          <a:xfrm>
            <a:off x="4812315" y="4050453"/>
            <a:ext cx="3945605" cy="1200329"/>
          </a:xfrm>
          <a:prstGeom prst="rect">
            <a:avLst/>
          </a:prstGeom>
          <a:noFill/>
        </p:spPr>
        <p:txBody>
          <a:bodyPr wrap="square" rtlCol="0">
            <a:spAutoFit/>
          </a:bodyPr>
          <a:lstStyle/>
          <a:p>
            <a:r>
              <a:rPr lang="en-US" dirty="0"/>
              <a:t>Z.D Mditshwa</a:t>
            </a:r>
          </a:p>
          <a:p>
            <a:r>
              <a:rPr lang="en-US" dirty="0"/>
              <a:t>047 502 2720/ 066 557 5840</a:t>
            </a:r>
          </a:p>
          <a:p>
            <a:r>
              <a:rPr lang="en-US" dirty="0">
                <a:hlinkClick r:id="rId7"/>
              </a:rPr>
              <a:t>zmditshwa@wsu.ac.za</a:t>
            </a:r>
            <a:endParaRPr lang="en-US" dirty="0"/>
          </a:p>
          <a:p>
            <a:r>
              <a:rPr lang="en-US" dirty="0"/>
              <a:t>Campus Deputy Registrar</a:t>
            </a:r>
          </a:p>
        </p:txBody>
      </p:sp>
    </p:spTree>
    <p:extLst>
      <p:ext uri="{BB962C8B-B14F-4D97-AF65-F5344CB8AC3E}">
        <p14:creationId xmlns:p14="http://schemas.microsoft.com/office/powerpoint/2010/main" val="895700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pic>
        <p:nvPicPr>
          <p:cNvPr id="8" name="Picture 104"/>
          <p:cNvPicPr>
            <a:picLocks noChangeAspect="1"/>
          </p:cNvPicPr>
          <p:nvPr/>
        </p:nvPicPr>
        <p:blipFill rotWithShape="1">
          <a:blip r:embed="rId2"/>
          <a:srcRect l="34768" t="21801" r="35751" b="57796"/>
          <a:stretch/>
        </p:blipFill>
        <p:spPr>
          <a:xfrm>
            <a:off x="94169" y="1544129"/>
            <a:ext cx="613197" cy="541658"/>
          </a:xfrm>
          <a:prstGeom prst="rect">
            <a:avLst/>
          </a:prstGeom>
        </p:spPr>
      </p:pic>
      <p:pic>
        <p:nvPicPr>
          <p:cNvPr id="9" name="Picture 105"/>
          <p:cNvPicPr>
            <a:picLocks noChangeAspect="1"/>
          </p:cNvPicPr>
          <p:nvPr/>
        </p:nvPicPr>
        <p:blipFill>
          <a:blip r:embed="rId3"/>
          <a:stretch>
            <a:fillRect/>
          </a:stretch>
        </p:blipFill>
        <p:spPr>
          <a:xfrm>
            <a:off x="8346899" y="5512273"/>
            <a:ext cx="619651" cy="457362"/>
          </a:xfrm>
          <a:prstGeom prst="rect">
            <a:avLst/>
          </a:prstGeom>
        </p:spPr>
      </p:pic>
      <p:pic>
        <p:nvPicPr>
          <p:cNvPr id="7" name="Picture 6">
            <a:extLst>
              <a:ext uri="{FF2B5EF4-FFF2-40B4-BE49-F238E27FC236}">
                <a16:creationId xmlns:a16="http://schemas.microsoft.com/office/drawing/2014/main" id="{CFB242F0-8BC9-C9F9-C736-4C476F98E81A}"/>
              </a:ext>
            </a:extLst>
          </p:cNvPr>
          <p:cNvPicPr>
            <a:picLocks noChangeAspect="1"/>
          </p:cNvPicPr>
          <p:nvPr/>
        </p:nvPicPr>
        <p:blipFill>
          <a:blip r:embed="rId4"/>
          <a:stretch>
            <a:fillRect/>
          </a:stretch>
        </p:blipFill>
        <p:spPr>
          <a:xfrm>
            <a:off x="0" y="6102278"/>
            <a:ext cx="9144000" cy="733461"/>
          </a:xfrm>
          <a:prstGeom prst="rect">
            <a:avLst/>
          </a:prstGeom>
        </p:spPr>
      </p:pic>
      <p:pic>
        <p:nvPicPr>
          <p:cNvPr id="10" name="Picture 9">
            <a:extLst>
              <a:ext uri="{FF2B5EF4-FFF2-40B4-BE49-F238E27FC236}">
                <a16:creationId xmlns:a16="http://schemas.microsoft.com/office/drawing/2014/main" id="{669D3BDC-BE28-BF81-D064-96D69F35AB89}"/>
              </a:ext>
            </a:extLst>
          </p:cNvPr>
          <p:cNvPicPr>
            <a:picLocks noChangeAspect="1"/>
          </p:cNvPicPr>
          <p:nvPr/>
        </p:nvPicPr>
        <p:blipFill>
          <a:blip r:embed="rId5"/>
          <a:stretch>
            <a:fillRect/>
          </a:stretch>
        </p:blipFill>
        <p:spPr>
          <a:xfrm>
            <a:off x="0" y="22261"/>
            <a:ext cx="1587731" cy="1119270"/>
          </a:xfrm>
          <a:prstGeom prst="rect">
            <a:avLst/>
          </a:prstGeom>
        </p:spPr>
      </p:pic>
      <p:pic>
        <p:nvPicPr>
          <p:cNvPr id="11" name="Picture 10">
            <a:extLst>
              <a:ext uri="{FF2B5EF4-FFF2-40B4-BE49-F238E27FC236}">
                <a16:creationId xmlns:a16="http://schemas.microsoft.com/office/drawing/2014/main" id="{2FFF6857-CCD3-B8AB-61A3-D51880B2B16F}"/>
              </a:ext>
            </a:extLst>
          </p:cNvPr>
          <p:cNvPicPr>
            <a:picLocks noChangeAspect="1"/>
          </p:cNvPicPr>
          <p:nvPr/>
        </p:nvPicPr>
        <p:blipFill>
          <a:blip r:embed="rId6"/>
          <a:stretch>
            <a:fillRect/>
          </a:stretch>
        </p:blipFill>
        <p:spPr>
          <a:xfrm>
            <a:off x="7553034" y="0"/>
            <a:ext cx="1587730" cy="1141531"/>
          </a:xfrm>
          <a:prstGeom prst="rect">
            <a:avLst/>
          </a:prstGeom>
        </p:spPr>
      </p:pic>
      <p:sp>
        <p:nvSpPr>
          <p:cNvPr id="13" name="TextBox 12">
            <a:extLst>
              <a:ext uri="{FF2B5EF4-FFF2-40B4-BE49-F238E27FC236}">
                <a16:creationId xmlns:a16="http://schemas.microsoft.com/office/drawing/2014/main" id="{A8818618-5674-7E61-74DE-2CD4A4B33E8F}"/>
              </a:ext>
            </a:extLst>
          </p:cNvPr>
          <p:cNvSpPr txBox="1"/>
          <p:nvPr/>
        </p:nvSpPr>
        <p:spPr>
          <a:xfrm>
            <a:off x="1645920" y="104842"/>
            <a:ext cx="5907114" cy="954107"/>
          </a:xfrm>
          <a:prstGeom prst="rect">
            <a:avLst/>
          </a:prstGeom>
          <a:noFill/>
        </p:spPr>
        <p:txBody>
          <a:bodyPr wrap="square">
            <a:spAutoFit/>
          </a:bodyPr>
          <a:lstStyle/>
          <a:p>
            <a:endParaRPr lang="en-ZA" sz="2800" b="1" dirty="0">
              <a:solidFill>
                <a:schemeClr val="bg1"/>
              </a:solidFill>
              <a:latin typeface="+mj-lt"/>
            </a:endParaRPr>
          </a:p>
          <a:p>
            <a:pPr algn="ctr"/>
            <a:r>
              <a:rPr lang="en-ZA" sz="2800" b="1" dirty="0">
                <a:solidFill>
                  <a:schemeClr val="bg1"/>
                </a:solidFill>
                <a:latin typeface="+mj-lt"/>
              </a:rPr>
              <a:t>Problem Statement</a:t>
            </a:r>
          </a:p>
        </p:txBody>
      </p:sp>
      <p:sp>
        <p:nvSpPr>
          <p:cNvPr id="5" name="TextBox 4">
            <a:extLst>
              <a:ext uri="{FF2B5EF4-FFF2-40B4-BE49-F238E27FC236}">
                <a16:creationId xmlns:a16="http://schemas.microsoft.com/office/drawing/2014/main" id="{17A5724F-C38E-D3EA-E0B5-F5CE84B3B2CD}"/>
              </a:ext>
            </a:extLst>
          </p:cNvPr>
          <p:cNvSpPr txBox="1"/>
          <p:nvPr/>
        </p:nvSpPr>
        <p:spPr>
          <a:xfrm>
            <a:off x="707365" y="1854680"/>
            <a:ext cx="7639534" cy="4247317"/>
          </a:xfrm>
          <a:prstGeom prst="rect">
            <a:avLst/>
          </a:prstGeom>
          <a:noFill/>
        </p:spPr>
        <p:txBody>
          <a:bodyPr wrap="square">
            <a:spAutoFit/>
          </a:bodyPr>
          <a:lstStyle/>
          <a:p>
            <a:pPr algn="just"/>
            <a:r>
              <a:rPr lang="en-US" dirty="0">
                <a:solidFill>
                  <a:schemeClr val="bg2"/>
                </a:solidFill>
              </a:rPr>
              <a:t>Walter Sisulu University and the Central University of Technology, Free State faced challenges in accurately identifying eligible graduation candidates. Both organizations used manual techniques that were time-consuming and prone to multiple errors. Both institutions acknowledged the importance of internal controls and identified major risk components in the manual process. </a:t>
            </a:r>
            <a:br>
              <a:rPr lang="en-US" dirty="0">
                <a:solidFill>
                  <a:schemeClr val="bg2"/>
                </a:solidFill>
              </a:rPr>
            </a:br>
            <a:br>
              <a:rPr lang="en-US" dirty="0">
                <a:solidFill>
                  <a:schemeClr val="bg2"/>
                </a:solidFill>
              </a:rPr>
            </a:br>
            <a:br>
              <a:rPr lang="en-US" dirty="0">
                <a:solidFill>
                  <a:schemeClr val="bg2"/>
                </a:solidFill>
              </a:rPr>
            </a:br>
            <a:r>
              <a:rPr lang="en-US" dirty="0">
                <a:solidFill>
                  <a:schemeClr val="bg2"/>
                </a:solidFill>
              </a:rPr>
              <a:t>Some potential graduates may not have been identified, leading to a financial risk in terms of output subsidy. Both universities recognized the need for a systematic approach to ensure data integrity in identifying possible graduates and to simplify the graduation identification processes.   Both University strategies, embrace the automation of business processes to improve efficiency.</a:t>
            </a:r>
            <a:br>
              <a:rPr lang="en-US" dirty="0">
                <a:solidFill>
                  <a:schemeClr val="bg2"/>
                </a:solidFill>
              </a:rPr>
            </a:br>
            <a:endParaRPr lang="en-US" dirty="0">
              <a:solidFill>
                <a:schemeClr val="bg2"/>
              </a:solidFill>
            </a:endParaRPr>
          </a:p>
        </p:txBody>
      </p:sp>
    </p:spTree>
    <p:extLst>
      <p:ext uri="{BB962C8B-B14F-4D97-AF65-F5344CB8AC3E}">
        <p14:creationId xmlns:p14="http://schemas.microsoft.com/office/powerpoint/2010/main" val="15166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CE9001BD-04C4-40D0-98EB-088BE1EF0E65}"/>
              </a:ext>
            </a:extLst>
          </p:cNvPr>
          <p:cNvSpPr>
            <a:spLocks noGrp="1"/>
          </p:cNvSpPr>
          <p:nvPr>
            <p:ph type="title"/>
          </p:nvPr>
        </p:nvSpPr>
        <p:spPr>
          <a:xfrm>
            <a:off x="1585098" y="17811"/>
            <a:ext cx="5636626" cy="1140050"/>
          </a:xfrm>
          <a:solidFill>
            <a:srgbClr val="0B144D"/>
          </a:solidFill>
        </p:spPr>
        <p:txBody>
          <a:bodyPr/>
          <a:lstStyle/>
          <a:p>
            <a:r>
              <a:rPr lang="en-US" sz="2800" cap="none" dirty="0">
                <a:solidFill>
                  <a:schemeClr val="bg1"/>
                </a:solidFill>
                <a:latin typeface="Georgia" panose="02040502050405020303" pitchFamily="18" charset="0"/>
              </a:rPr>
              <a:t>Graduation Actionable</a:t>
            </a:r>
            <a:br>
              <a:rPr lang="en-US" sz="2800" cap="none" dirty="0">
                <a:solidFill>
                  <a:schemeClr val="bg1"/>
                </a:solidFill>
                <a:latin typeface="Georgia" panose="02040502050405020303" pitchFamily="18" charset="0"/>
              </a:rPr>
            </a:br>
            <a:r>
              <a:rPr lang="en-US" sz="2800" cap="none" dirty="0">
                <a:solidFill>
                  <a:schemeClr val="bg1"/>
                </a:solidFill>
                <a:latin typeface="Georgia" panose="02040502050405020303" pitchFamily="18" charset="0"/>
              </a:rPr>
              <a:t> Roadmap</a:t>
            </a:r>
          </a:p>
        </p:txBody>
      </p:sp>
      <p:sp>
        <p:nvSpPr>
          <p:cNvPr id="125" name="Text Placeholder 124">
            <a:extLst>
              <a:ext uri="{FF2B5EF4-FFF2-40B4-BE49-F238E27FC236}">
                <a16:creationId xmlns:a16="http://schemas.microsoft.com/office/drawing/2014/main" id="{050D8B2C-5F7C-FA8E-0AA4-BB2D55751FED}"/>
              </a:ext>
            </a:extLst>
          </p:cNvPr>
          <p:cNvSpPr>
            <a:spLocks noGrp="1"/>
          </p:cNvSpPr>
          <p:nvPr>
            <p:ph type="body" sz="quarter" idx="46"/>
          </p:nvPr>
        </p:nvSpPr>
        <p:spPr>
          <a:xfrm>
            <a:off x="457409" y="2796069"/>
            <a:ext cx="658368" cy="658368"/>
          </a:xfrm>
        </p:spPr>
        <p:txBody>
          <a:bodyPr>
            <a:normAutofit fontScale="92500" lnSpcReduction="20000"/>
          </a:bodyPr>
          <a:lstStyle/>
          <a:p>
            <a:r>
              <a:rPr lang="en-US" dirty="0"/>
              <a:t>Q1</a:t>
            </a:r>
          </a:p>
        </p:txBody>
      </p:sp>
      <p:sp>
        <p:nvSpPr>
          <p:cNvPr id="9" name="Text Placeholder 8">
            <a:extLst>
              <a:ext uri="{FF2B5EF4-FFF2-40B4-BE49-F238E27FC236}">
                <a16:creationId xmlns:a16="http://schemas.microsoft.com/office/drawing/2014/main" id="{3C24A58D-AA17-4F67-83B7-7CCA21DB5AEC}"/>
              </a:ext>
            </a:extLst>
          </p:cNvPr>
          <p:cNvSpPr>
            <a:spLocks noGrp="1"/>
          </p:cNvSpPr>
          <p:nvPr>
            <p:ph type="body" sz="quarter" idx="10"/>
          </p:nvPr>
        </p:nvSpPr>
        <p:spPr>
          <a:xfrm>
            <a:off x="342136" y="3868141"/>
            <a:ext cx="931735" cy="329356"/>
          </a:xfrm>
        </p:spPr>
        <p:txBody>
          <a:bodyPr/>
          <a:lstStyle/>
          <a:p>
            <a:pPr algn="ctr"/>
            <a:r>
              <a:rPr lang="en-US" dirty="0"/>
              <a:t>System Setup</a:t>
            </a:r>
          </a:p>
        </p:txBody>
      </p:sp>
      <p:sp>
        <p:nvSpPr>
          <p:cNvPr id="26" name="Text Placeholder 25">
            <a:extLst>
              <a:ext uri="{FF2B5EF4-FFF2-40B4-BE49-F238E27FC236}">
                <a16:creationId xmlns:a16="http://schemas.microsoft.com/office/drawing/2014/main" id="{BFF8A845-42A9-4A35-96F2-1B02ED530AAA}"/>
              </a:ext>
            </a:extLst>
          </p:cNvPr>
          <p:cNvSpPr>
            <a:spLocks noGrp="1"/>
          </p:cNvSpPr>
          <p:nvPr>
            <p:ph type="body" sz="quarter" idx="11"/>
          </p:nvPr>
        </p:nvSpPr>
        <p:spPr>
          <a:xfrm>
            <a:off x="342136" y="4221884"/>
            <a:ext cx="931735" cy="887326"/>
          </a:xfrm>
        </p:spPr>
        <p:txBody>
          <a:bodyPr vert="horz" lIns="0" tIns="34290" rIns="0" bIns="34290" rtlCol="0" anchor="t">
            <a:noAutofit/>
          </a:bodyPr>
          <a:lstStyle/>
          <a:p>
            <a:r>
              <a:rPr lang="en-US" dirty="0"/>
              <a:t>Configure the ITS system to handle the graduation process.</a:t>
            </a:r>
          </a:p>
        </p:txBody>
      </p:sp>
      <p:sp>
        <p:nvSpPr>
          <p:cNvPr id="126" name="Text Placeholder 125">
            <a:extLst>
              <a:ext uri="{FF2B5EF4-FFF2-40B4-BE49-F238E27FC236}">
                <a16:creationId xmlns:a16="http://schemas.microsoft.com/office/drawing/2014/main" id="{112BA200-EA49-2526-8275-2C0F4FB19544}"/>
              </a:ext>
            </a:extLst>
          </p:cNvPr>
          <p:cNvSpPr>
            <a:spLocks noGrp="1"/>
          </p:cNvSpPr>
          <p:nvPr>
            <p:ph type="body" sz="quarter" idx="47"/>
          </p:nvPr>
        </p:nvSpPr>
        <p:spPr>
          <a:xfrm>
            <a:off x="1464863" y="2796069"/>
            <a:ext cx="658368" cy="658368"/>
          </a:xfrm>
        </p:spPr>
        <p:txBody>
          <a:bodyPr>
            <a:normAutofit fontScale="92500" lnSpcReduction="20000"/>
          </a:bodyPr>
          <a:lstStyle/>
          <a:p>
            <a:r>
              <a:rPr lang="en-US" dirty="0"/>
              <a:t>Q2</a:t>
            </a:r>
          </a:p>
        </p:txBody>
      </p:sp>
      <p:sp>
        <p:nvSpPr>
          <p:cNvPr id="11" name="Text Placeholder 10">
            <a:extLst>
              <a:ext uri="{FF2B5EF4-FFF2-40B4-BE49-F238E27FC236}">
                <a16:creationId xmlns:a16="http://schemas.microsoft.com/office/drawing/2014/main" id="{08C3D9F9-4837-4F86-BA47-07FC8380F1B5}"/>
              </a:ext>
            </a:extLst>
          </p:cNvPr>
          <p:cNvSpPr>
            <a:spLocks noGrp="1"/>
          </p:cNvSpPr>
          <p:nvPr>
            <p:ph type="body" sz="quarter" idx="32"/>
          </p:nvPr>
        </p:nvSpPr>
        <p:spPr>
          <a:xfrm>
            <a:off x="1379327" y="3868140"/>
            <a:ext cx="952842" cy="329357"/>
          </a:xfrm>
        </p:spPr>
        <p:txBody>
          <a:bodyPr/>
          <a:lstStyle/>
          <a:p>
            <a:pPr algn="ctr"/>
            <a:r>
              <a:rPr lang="en-US" dirty="0"/>
              <a:t>Data collection</a:t>
            </a:r>
          </a:p>
        </p:txBody>
      </p:sp>
      <p:sp>
        <p:nvSpPr>
          <p:cNvPr id="27" name="Text Placeholder 26">
            <a:extLst>
              <a:ext uri="{FF2B5EF4-FFF2-40B4-BE49-F238E27FC236}">
                <a16:creationId xmlns:a16="http://schemas.microsoft.com/office/drawing/2014/main" id="{0C35B328-B64E-4876-8FF0-5F1BBD21C7C3}"/>
              </a:ext>
            </a:extLst>
          </p:cNvPr>
          <p:cNvSpPr>
            <a:spLocks noGrp="1"/>
          </p:cNvSpPr>
          <p:nvPr>
            <p:ph type="body" sz="quarter" idx="33"/>
          </p:nvPr>
        </p:nvSpPr>
        <p:spPr>
          <a:xfrm>
            <a:off x="1298223" y="4221884"/>
            <a:ext cx="1074366" cy="895148"/>
          </a:xfrm>
        </p:spPr>
        <p:txBody>
          <a:bodyPr vert="horz" lIns="0" tIns="34290" rIns="0" bIns="34290" rtlCol="0" anchor="t">
            <a:noAutofit/>
          </a:bodyPr>
          <a:lstStyle/>
          <a:p>
            <a:r>
              <a:rPr lang="en-US" dirty="0"/>
              <a:t>Verify  student data, including personal information, academic records, and graduation requirements</a:t>
            </a:r>
          </a:p>
        </p:txBody>
      </p:sp>
      <p:sp>
        <p:nvSpPr>
          <p:cNvPr id="127" name="Text Placeholder 126">
            <a:extLst>
              <a:ext uri="{FF2B5EF4-FFF2-40B4-BE49-F238E27FC236}">
                <a16:creationId xmlns:a16="http://schemas.microsoft.com/office/drawing/2014/main" id="{1F8ACB0D-976A-0B22-B154-88320A646A3F}"/>
              </a:ext>
            </a:extLst>
          </p:cNvPr>
          <p:cNvSpPr>
            <a:spLocks noGrp="1"/>
          </p:cNvSpPr>
          <p:nvPr>
            <p:ph type="body" sz="quarter" idx="48"/>
          </p:nvPr>
        </p:nvSpPr>
        <p:spPr>
          <a:xfrm>
            <a:off x="2453693" y="2796069"/>
            <a:ext cx="658368" cy="658368"/>
          </a:xfrm>
        </p:spPr>
        <p:txBody>
          <a:bodyPr>
            <a:normAutofit fontScale="92500" lnSpcReduction="20000"/>
          </a:bodyPr>
          <a:lstStyle/>
          <a:p>
            <a:r>
              <a:rPr lang="en-US" dirty="0"/>
              <a:t>Q3</a:t>
            </a:r>
          </a:p>
        </p:txBody>
      </p:sp>
      <p:sp>
        <p:nvSpPr>
          <p:cNvPr id="13" name="Text Placeholder 12">
            <a:extLst>
              <a:ext uri="{FF2B5EF4-FFF2-40B4-BE49-F238E27FC236}">
                <a16:creationId xmlns:a16="http://schemas.microsoft.com/office/drawing/2014/main" id="{5296BD85-425B-4958-88CA-45CA44C80370}"/>
              </a:ext>
            </a:extLst>
          </p:cNvPr>
          <p:cNvSpPr>
            <a:spLocks noGrp="1"/>
          </p:cNvSpPr>
          <p:nvPr>
            <p:ph type="body" sz="quarter" idx="34"/>
          </p:nvPr>
        </p:nvSpPr>
        <p:spPr>
          <a:xfrm>
            <a:off x="2416518" y="3868140"/>
            <a:ext cx="930932" cy="353741"/>
          </a:xfrm>
        </p:spPr>
        <p:txBody>
          <a:bodyPr/>
          <a:lstStyle/>
          <a:p>
            <a:pPr algn="ctr"/>
            <a:r>
              <a:rPr lang="en-US" dirty="0"/>
              <a:t>Graduation criteria</a:t>
            </a:r>
          </a:p>
        </p:txBody>
      </p:sp>
      <p:sp>
        <p:nvSpPr>
          <p:cNvPr id="28" name="Text Placeholder 27">
            <a:extLst>
              <a:ext uri="{FF2B5EF4-FFF2-40B4-BE49-F238E27FC236}">
                <a16:creationId xmlns:a16="http://schemas.microsoft.com/office/drawing/2014/main" id="{F89F2451-1186-4C3F-A493-A04E51E7B08A}"/>
              </a:ext>
            </a:extLst>
          </p:cNvPr>
          <p:cNvSpPr>
            <a:spLocks noGrp="1"/>
          </p:cNvSpPr>
          <p:nvPr>
            <p:ph type="body" sz="quarter" idx="35"/>
          </p:nvPr>
        </p:nvSpPr>
        <p:spPr>
          <a:xfrm>
            <a:off x="2372589" y="4221881"/>
            <a:ext cx="1118295" cy="1214643"/>
          </a:xfrm>
        </p:spPr>
        <p:txBody>
          <a:bodyPr vert="horz" lIns="0" tIns="34290" rIns="0" bIns="34290" rtlCol="0" anchor="t">
            <a:noAutofit/>
          </a:bodyPr>
          <a:lstStyle/>
          <a:p>
            <a:r>
              <a:rPr lang="en-US" dirty="0"/>
              <a:t> Define the criteria for graduation, including completion of required courses, minimum Credits, and any other specific requirements</a:t>
            </a:r>
          </a:p>
          <a:p>
            <a:endParaRPr lang="en-US" dirty="0"/>
          </a:p>
        </p:txBody>
      </p:sp>
      <p:sp>
        <p:nvSpPr>
          <p:cNvPr id="128" name="Text Placeholder 127">
            <a:extLst>
              <a:ext uri="{FF2B5EF4-FFF2-40B4-BE49-F238E27FC236}">
                <a16:creationId xmlns:a16="http://schemas.microsoft.com/office/drawing/2014/main" id="{3C6C5473-03B5-5240-F360-5C9549999BAB}"/>
              </a:ext>
            </a:extLst>
          </p:cNvPr>
          <p:cNvSpPr>
            <a:spLocks noGrp="1"/>
          </p:cNvSpPr>
          <p:nvPr>
            <p:ph type="body" sz="quarter" idx="49"/>
          </p:nvPr>
        </p:nvSpPr>
        <p:spPr>
          <a:xfrm>
            <a:off x="3468291" y="2796069"/>
            <a:ext cx="658368" cy="658368"/>
          </a:xfrm>
        </p:spPr>
        <p:txBody>
          <a:bodyPr>
            <a:normAutofit fontScale="92500" lnSpcReduction="20000"/>
          </a:bodyPr>
          <a:lstStyle/>
          <a:p>
            <a:r>
              <a:rPr lang="en-US" dirty="0"/>
              <a:t>Q4</a:t>
            </a:r>
          </a:p>
        </p:txBody>
      </p:sp>
      <p:sp>
        <p:nvSpPr>
          <p:cNvPr id="15" name="Text Placeholder 14">
            <a:extLst>
              <a:ext uri="{FF2B5EF4-FFF2-40B4-BE49-F238E27FC236}">
                <a16:creationId xmlns:a16="http://schemas.microsoft.com/office/drawing/2014/main" id="{F04DBBF1-EF80-43E1-B3CC-E7287929142E}"/>
              </a:ext>
            </a:extLst>
          </p:cNvPr>
          <p:cNvSpPr>
            <a:spLocks noGrp="1"/>
          </p:cNvSpPr>
          <p:nvPr>
            <p:ph type="body" sz="quarter" idx="36"/>
          </p:nvPr>
        </p:nvSpPr>
        <p:spPr>
          <a:xfrm>
            <a:off x="3490884" y="3868141"/>
            <a:ext cx="893756" cy="329356"/>
          </a:xfrm>
        </p:spPr>
        <p:txBody>
          <a:bodyPr/>
          <a:lstStyle/>
          <a:p>
            <a:pPr algn="ctr"/>
            <a:r>
              <a:rPr lang="en-US" dirty="0"/>
              <a:t>Graduation check</a:t>
            </a:r>
          </a:p>
        </p:txBody>
      </p:sp>
      <p:sp>
        <p:nvSpPr>
          <p:cNvPr id="29" name="Text Placeholder 28">
            <a:extLst>
              <a:ext uri="{FF2B5EF4-FFF2-40B4-BE49-F238E27FC236}">
                <a16:creationId xmlns:a16="http://schemas.microsoft.com/office/drawing/2014/main" id="{93D68865-5E04-4E48-9C59-307470D709C2}"/>
              </a:ext>
            </a:extLst>
          </p:cNvPr>
          <p:cNvSpPr>
            <a:spLocks noGrp="1"/>
          </p:cNvSpPr>
          <p:nvPr>
            <p:ph type="body" sz="quarter" idx="37"/>
          </p:nvPr>
        </p:nvSpPr>
        <p:spPr>
          <a:xfrm>
            <a:off x="3596338" y="4221883"/>
            <a:ext cx="931735" cy="1065011"/>
          </a:xfrm>
        </p:spPr>
        <p:txBody>
          <a:bodyPr vert="horz" lIns="0" tIns="34290" rIns="0" bIns="34290" rtlCol="0" anchor="t">
            <a:noAutofit/>
          </a:bodyPr>
          <a:lstStyle/>
          <a:p>
            <a:r>
              <a:rPr lang="en-US" dirty="0"/>
              <a:t> Develop algorithms within the ITS system to automatically check if students meet the graduation criteria based on the collected data.</a:t>
            </a:r>
          </a:p>
          <a:p>
            <a:endParaRPr lang="en-US" dirty="0"/>
          </a:p>
        </p:txBody>
      </p:sp>
      <p:sp>
        <p:nvSpPr>
          <p:cNvPr id="129" name="Text Placeholder 128">
            <a:extLst>
              <a:ext uri="{FF2B5EF4-FFF2-40B4-BE49-F238E27FC236}">
                <a16:creationId xmlns:a16="http://schemas.microsoft.com/office/drawing/2014/main" id="{1EE7A7F5-8246-97B7-3FE9-E842EAB458E1}"/>
              </a:ext>
            </a:extLst>
          </p:cNvPr>
          <p:cNvSpPr>
            <a:spLocks noGrp="1"/>
          </p:cNvSpPr>
          <p:nvPr>
            <p:ph type="body" sz="quarter" idx="50"/>
          </p:nvPr>
        </p:nvSpPr>
        <p:spPr>
          <a:xfrm>
            <a:off x="5028135" y="2796069"/>
            <a:ext cx="658368" cy="658368"/>
          </a:xfrm>
        </p:spPr>
        <p:txBody>
          <a:bodyPr>
            <a:normAutofit fontScale="92500" lnSpcReduction="20000"/>
          </a:bodyPr>
          <a:lstStyle/>
          <a:p>
            <a:r>
              <a:rPr lang="en-US" dirty="0"/>
              <a:t>Q5</a:t>
            </a:r>
          </a:p>
        </p:txBody>
      </p:sp>
      <p:sp>
        <p:nvSpPr>
          <p:cNvPr id="17" name="Text Placeholder 16">
            <a:extLst>
              <a:ext uri="{FF2B5EF4-FFF2-40B4-BE49-F238E27FC236}">
                <a16:creationId xmlns:a16="http://schemas.microsoft.com/office/drawing/2014/main" id="{41E481CA-8BE8-4318-84EE-4F88A61BE57F}"/>
              </a:ext>
            </a:extLst>
          </p:cNvPr>
          <p:cNvSpPr>
            <a:spLocks noGrp="1"/>
          </p:cNvSpPr>
          <p:nvPr>
            <p:ph type="body" sz="quarter" idx="38"/>
          </p:nvPr>
        </p:nvSpPr>
        <p:spPr>
          <a:xfrm>
            <a:off x="4916422" y="3868141"/>
            <a:ext cx="930932" cy="226640"/>
          </a:xfrm>
        </p:spPr>
        <p:txBody>
          <a:bodyPr/>
          <a:lstStyle/>
          <a:p>
            <a:r>
              <a:rPr lang="en-US" dirty="0"/>
              <a:t>notification</a:t>
            </a:r>
          </a:p>
        </p:txBody>
      </p:sp>
      <p:sp>
        <p:nvSpPr>
          <p:cNvPr id="30" name="Text Placeholder 29">
            <a:extLst>
              <a:ext uri="{FF2B5EF4-FFF2-40B4-BE49-F238E27FC236}">
                <a16:creationId xmlns:a16="http://schemas.microsoft.com/office/drawing/2014/main" id="{6AB27524-4451-4AC5-964C-0F705B6368D7}"/>
              </a:ext>
            </a:extLst>
          </p:cNvPr>
          <p:cNvSpPr>
            <a:spLocks noGrp="1"/>
          </p:cNvSpPr>
          <p:nvPr>
            <p:ph type="body" sz="quarter" idx="39"/>
          </p:nvPr>
        </p:nvSpPr>
        <p:spPr>
          <a:xfrm>
            <a:off x="4916422" y="4221884"/>
            <a:ext cx="931735" cy="887326"/>
          </a:xfrm>
        </p:spPr>
        <p:txBody>
          <a:bodyPr vert="horz" lIns="0" tIns="34290" rIns="0" bIns="34290" rtlCol="0" anchor="t">
            <a:noAutofit/>
          </a:bodyPr>
          <a:lstStyle/>
          <a:p>
            <a:r>
              <a:rPr lang="en-US" dirty="0"/>
              <a:t>Notify students who meet the graduation criteria via email or through the ERP system.</a:t>
            </a:r>
          </a:p>
          <a:p>
            <a:endParaRPr lang="en-US" dirty="0"/>
          </a:p>
          <a:p>
            <a:endParaRPr lang="en-US" dirty="0"/>
          </a:p>
          <a:p>
            <a:endParaRPr lang="en-US" dirty="0"/>
          </a:p>
        </p:txBody>
      </p:sp>
      <p:sp>
        <p:nvSpPr>
          <p:cNvPr id="130" name="Text Placeholder 129">
            <a:extLst>
              <a:ext uri="{FF2B5EF4-FFF2-40B4-BE49-F238E27FC236}">
                <a16:creationId xmlns:a16="http://schemas.microsoft.com/office/drawing/2014/main" id="{032B5EBF-1974-0CF3-1F6E-2365EB5423FD}"/>
              </a:ext>
            </a:extLst>
          </p:cNvPr>
          <p:cNvSpPr>
            <a:spLocks noGrp="1"/>
          </p:cNvSpPr>
          <p:nvPr>
            <p:ph type="body" sz="quarter" idx="51"/>
          </p:nvPr>
        </p:nvSpPr>
        <p:spPr>
          <a:xfrm>
            <a:off x="6035589" y="2796069"/>
            <a:ext cx="658368" cy="658368"/>
          </a:xfrm>
        </p:spPr>
        <p:txBody>
          <a:bodyPr>
            <a:normAutofit fontScale="92500" lnSpcReduction="20000"/>
          </a:bodyPr>
          <a:lstStyle/>
          <a:p>
            <a:r>
              <a:rPr lang="en-US" dirty="0"/>
              <a:t>Q6</a:t>
            </a:r>
          </a:p>
        </p:txBody>
      </p:sp>
      <p:sp>
        <p:nvSpPr>
          <p:cNvPr id="20" name="Text Placeholder 19">
            <a:extLst>
              <a:ext uri="{FF2B5EF4-FFF2-40B4-BE49-F238E27FC236}">
                <a16:creationId xmlns:a16="http://schemas.microsoft.com/office/drawing/2014/main" id="{AFEC3A38-7684-4BBF-AFAD-87409B0E6BDC}"/>
              </a:ext>
            </a:extLst>
          </p:cNvPr>
          <p:cNvSpPr>
            <a:spLocks noGrp="1"/>
          </p:cNvSpPr>
          <p:nvPr>
            <p:ph type="body" sz="quarter" idx="40"/>
          </p:nvPr>
        </p:nvSpPr>
        <p:spPr>
          <a:xfrm>
            <a:off x="5952809" y="3868141"/>
            <a:ext cx="931735" cy="226640"/>
          </a:xfrm>
        </p:spPr>
        <p:txBody>
          <a:bodyPr/>
          <a:lstStyle/>
          <a:p>
            <a:r>
              <a:rPr lang="en-US" dirty="0"/>
              <a:t>Manual review</a:t>
            </a:r>
          </a:p>
        </p:txBody>
      </p:sp>
      <p:sp>
        <p:nvSpPr>
          <p:cNvPr id="32" name="Text Placeholder 31">
            <a:extLst>
              <a:ext uri="{FF2B5EF4-FFF2-40B4-BE49-F238E27FC236}">
                <a16:creationId xmlns:a16="http://schemas.microsoft.com/office/drawing/2014/main" id="{2C82D1BF-3352-4868-9C3D-613EB8D084C5}"/>
              </a:ext>
            </a:extLst>
          </p:cNvPr>
          <p:cNvSpPr>
            <a:spLocks noGrp="1"/>
          </p:cNvSpPr>
          <p:nvPr>
            <p:ph type="body" sz="quarter" idx="41"/>
          </p:nvPr>
        </p:nvSpPr>
        <p:spPr>
          <a:xfrm>
            <a:off x="5953613" y="4221884"/>
            <a:ext cx="931735" cy="887326"/>
          </a:xfrm>
        </p:spPr>
        <p:txBody>
          <a:bodyPr vert="horz" lIns="0" tIns="34290" rIns="0" bIns="34290" rtlCol="0" anchor="t">
            <a:noAutofit/>
          </a:bodyPr>
          <a:lstStyle/>
          <a:p>
            <a:r>
              <a:rPr lang="en-US" dirty="0"/>
              <a:t> Implement audit l review process for borderline cases or exceptions where automated checks may not be conclusive.</a:t>
            </a:r>
          </a:p>
          <a:p>
            <a:endParaRPr lang="en-US" dirty="0"/>
          </a:p>
        </p:txBody>
      </p:sp>
      <p:sp>
        <p:nvSpPr>
          <p:cNvPr id="131" name="Text Placeholder 130">
            <a:extLst>
              <a:ext uri="{FF2B5EF4-FFF2-40B4-BE49-F238E27FC236}">
                <a16:creationId xmlns:a16="http://schemas.microsoft.com/office/drawing/2014/main" id="{6581748A-8705-6ECC-294B-8F9596854B79}"/>
              </a:ext>
            </a:extLst>
          </p:cNvPr>
          <p:cNvSpPr>
            <a:spLocks noGrp="1"/>
          </p:cNvSpPr>
          <p:nvPr>
            <p:ph type="body" sz="quarter" idx="52"/>
          </p:nvPr>
        </p:nvSpPr>
        <p:spPr>
          <a:xfrm>
            <a:off x="7024420" y="2796069"/>
            <a:ext cx="658368" cy="658368"/>
          </a:xfrm>
        </p:spPr>
        <p:txBody>
          <a:bodyPr>
            <a:normAutofit fontScale="92500" lnSpcReduction="20000"/>
          </a:bodyPr>
          <a:lstStyle/>
          <a:p>
            <a:r>
              <a:rPr lang="en-US" dirty="0"/>
              <a:t>Q7</a:t>
            </a:r>
          </a:p>
        </p:txBody>
      </p:sp>
      <p:sp>
        <p:nvSpPr>
          <p:cNvPr id="22" name="Text Placeholder 21">
            <a:extLst>
              <a:ext uri="{FF2B5EF4-FFF2-40B4-BE49-F238E27FC236}">
                <a16:creationId xmlns:a16="http://schemas.microsoft.com/office/drawing/2014/main" id="{FE9BE32E-27C4-48FC-81C3-3D6F67418E34}"/>
              </a:ext>
            </a:extLst>
          </p:cNvPr>
          <p:cNvSpPr>
            <a:spLocks noGrp="1"/>
          </p:cNvSpPr>
          <p:nvPr>
            <p:ph type="body" sz="quarter" idx="42"/>
          </p:nvPr>
        </p:nvSpPr>
        <p:spPr>
          <a:xfrm>
            <a:off x="6990804" y="3868141"/>
            <a:ext cx="930931" cy="353740"/>
          </a:xfrm>
        </p:spPr>
        <p:txBody>
          <a:bodyPr/>
          <a:lstStyle/>
          <a:p>
            <a:pPr algn="ctr"/>
            <a:r>
              <a:rPr lang="en-US" dirty="0"/>
              <a:t>Approval process</a:t>
            </a:r>
          </a:p>
        </p:txBody>
      </p:sp>
      <p:sp>
        <p:nvSpPr>
          <p:cNvPr id="38" name="Text Placeholder 37">
            <a:extLst>
              <a:ext uri="{FF2B5EF4-FFF2-40B4-BE49-F238E27FC236}">
                <a16:creationId xmlns:a16="http://schemas.microsoft.com/office/drawing/2014/main" id="{D611DE91-B76B-4361-A001-E52AEAAD8774}"/>
              </a:ext>
            </a:extLst>
          </p:cNvPr>
          <p:cNvSpPr>
            <a:spLocks noGrp="1"/>
          </p:cNvSpPr>
          <p:nvPr>
            <p:ph type="body" sz="quarter" idx="43"/>
          </p:nvPr>
        </p:nvSpPr>
        <p:spPr>
          <a:xfrm>
            <a:off x="6990804" y="4221884"/>
            <a:ext cx="931735" cy="887326"/>
          </a:xfrm>
        </p:spPr>
        <p:txBody>
          <a:bodyPr vert="horz" lIns="0" tIns="34290" rIns="0" bIns="34290" rtlCol="0" anchor="t">
            <a:noAutofit/>
          </a:bodyPr>
          <a:lstStyle/>
          <a:p>
            <a:r>
              <a:rPr lang="en-US" dirty="0"/>
              <a:t> Define an approval process for confirming graduation eligibility, including review by Faculty heads.</a:t>
            </a:r>
          </a:p>
          <a:p>
            <a:endParaRPr lang="en-US" dirty="0"/>
          </a:p>
        </p:txBody>
      </p:sp>
      <p:sp>
        <p:nvSpPr>
          <p:cNvPr id="132" name="Text Placeholder 131">
            <a:extLst>
              <a:ext uri="{FF2B5EF4-FFF2-40B4-BE49-F238E27FC236}">
                <a16:creationId xmlns:a16="http://schemas.microsoft.com/office/drawing/2014/main" id="{D1DDA847-0A52-1D22-F2D4-A83A5C8B8540}"/>
              </a:ext>
            </a:extLst>
          </p:cNvPr>
          <p:cNvSpPr>
            <a:spLocks noGrp="1"/>
          </p:cNvSpPr>
          <p:nvPr>
            <p:ph type="body" sz="quarter" idx="53"/>
          </p:nvPr>
        </p:nvSpPr>
        <p:spPr>
          <a:xfrm>
            <a:off x="8039018" y="2796069"/>
            <a:ext cx="658368" cy="658368"/>
          </a:xfrm>
        </p:spPr>
        <p:txBody>
          <a:bodyPr>
            <a:normAutofit fontScale="92500" lnSpcReduction="20000"/>
          </a:bodyPr>
          <a:lstStyle/>
          <a:p>
            <a:r>
              <a:rPr lang="en-US" dirty="0"/>
              <a:t>Q8</a:t>
            </a:r>
          </a:p>
        </p:txBody>
      </p:sp>
      <p:sp>
        <p:nvSpPr>
          <p:cNvPr id="24" name="Text Placeholder 23">
            <a:extLst>
              <a:ext uri="{FF2B5EF4-FFF2-40B4-BE49-F238E27FC236}">
                <a16:creationId xmlns:a16="http://schemas.microsoft.com/office/drawing/2014/main" id="{058A900D-B4DE-4CA7-B31B-EF43F275DE2D}"/>
              </a:ext>
            </a:extLst>
          </p:cNvPr>
          <p:cNvSpPr>
            <a:spLocks noGrp="1"/>
          </p:cNvSpPr>
          <p:nvPr>
            <p:ph type="body" sz="quarter" idx="44"/>
          </p:nvPr>
        </p:nvSpPr>
        <p:spPr>
          <a:xfrm>
            <a:off x="8027994" y="3868141"/>
            <a:ext cx="930931" cy="353742"/>
          </a:xfrm>
        </p:spPr>
        <p:txBody>
          <a:bodyPr/>
          <a:lstStyle/>
          <a:p>
            <a:pPr algn="ctr"/>
            <a:r>
              <a:rPr lang="en-US" dirty="0"/>
              <a:t>graduation list</a:t>
            </a:r>
          </a:p>
        </p:txBody>
      </p:sp>
      <p:sp>
        <p:nvSpPr>
          <p:cNvPr id="39" name="Text Placeholder 38">
            <a:extLst>
              <a:ext uri="{FF2B5EF4-FFF2-40B4-BE49-F238E27FC236}">
                <a16:creationId xmlns:a16="http://schemas.microsoft.com/office/drawing/2014/main" id="{9CB9ACC2-C176-402F-99F5-FE146A30A09B}"/>
              </a:ext>
            </a:extLst>
          </p:cNvPr>
          <p:cNvSpPr>
            <a:spLocks noGrp="1"/>
          </p:cNvSpPr>
          <p:nvPr>
            <p:ph type="body" sz="quarter" idx="45"/>
          </p:nvPr>
        </p:nvSpPr>
        <p:spPr>
          <a:xfrm>
            <a:off x="8027994" y="4229706"/>
            <a:ext cx="931735" cy="887326"/>
          </a:xfrm>
        </p:spPr>
        <p:txBody>
          <a:bodyPr vert="horz" lIns="0" tIns="34290" rIns="0" bIns="34290" rtlCol="0" anchor="t">
            <a:noAutofit/>
          </a:bodyPr>
          <a:lstStyle/>
          <a:p>
            <a:r>
              <a:rPr lang="en-US" dirty="0"/>
              <a:t> Generate a list of eligible graduates for each graduation ceremony.</a:t>
            </a:r>
          </a:p>
          <a:p>
            <a:endParaRPr lang="en-US" dirty="0"/>
          </a:p>
        </p:txBody>
      </p:sp>
      <p:pic>
        <p:nvPicPr>
          <p:cNvPr id="2" name="Picture 1">
            <a:extLst>
              <a:ext uri="{FF2B5EF4-FFF2-40B4-BE49-F238E27FC236}">
                <a16:creationId xmlns:a16="http://schemas.microsoft.com/office/drawing/2014/main" id="{C4BDFE6D-8541-634D-B879-2D840DE2C316}"/>
              </a:ext>
            </a:extLst>
          </p:cNvPr>
          <p:cNvPicPr>
            <a:picLocks noChangeAspect="1"/>
          </p:cNvPicPr>
          <p:nvPr/>
        </p:nvPicPr>
        <p:blipFill>
          <a:blip r:embed="rId3"/>
          <a:stretch>
            <a:fillRect/>
          </a:stretch>
        </p:blipFill>
        <p:spPr>
          <a:xfrm>
            <a:off x="0" y="17810"/>
            <a:ext cx="1585097" cy="1140051"/>
          </a:xfrm>
          <a:prstGeom prst="rect">
            <a:avLst/>
          </a:prstGeom>
        </p:spPr>
      </p:pic>
      <p:pic>
        <p:nvPicPr>
          <p:cNvPr id="3" name="Picture 2">
            <a:extLst>
              <a:ext uri="{FF2B5EF4-FFF2-40B4-BE49-F238E27FC236}">
                <a16:creationId xmlns:a16="http://schemas.microsoft.com/office/drawing/2014/main" id="{D2431169-01DF-AA8C-8769-CEE9BC6C0BB8}"/>
              </a:ext>
            </a:extLst>
          </p:cNvPr>
          <p:cNvPicPr>
            <a:picLocks noChangeAspect="1"/>
          </p:cNvPicPr>
          <p:nvPr/>
        </p:nvPicPr>
        <p:blipFill>
          <a:blip r:embed="rId4"/>
          <a:stretch>
            <a:fillRect/>
          </a:stretch>
        </p:blipFill>
        <p:spPr>
          <a:xfrm>
            <a:off x="7129186" y="17810"/>
            <a:ext cx="1585097" cy="1140051"/>
          </a:xfrm>
          <a:prstGeom prst="rect">
            <a:avLst/>
          </a:prstGeom>
        </p:spPr>
      </p:pic>
      <p:pic>
        <p:nvPicPr>
          <p:cNvPr id="4" name="Picture 3">
            <a:extLst>
              <a:ext uri="{FF2B5EF4-FFF2-40B4-BE49-F238E27FC236}">
                <a16:creationId xmlns:a16="http://schemas.microsoft.com/office/drawing/2014/main" id="{FB38763F-7E42-9892-A651-764FAD960F74}"/>
              </a:ext>
            </a:extLst>
          </p:cNvPr>
          <p:cNvPicPr>
            <a:picLocks noChangeAspect="1"/>
          </p:cNvPicPr>
          <p:nvPr/>
        </p:nvPicPr>
        <p:blipFill>
          <a:blip r:embed="rId5"/>
          <a:stretch>
            <a:fillRect/>
          </a:stretch>
        </p:blipFill>
        <p:spPr>
          <a:xfrm>
            <a:off x="43929" y="6073541"/>
            <a:ext cx="9144000" cy="731520"/>
          </a:xfrm>
          <a:prstGeom prst="rect">
            <a:avLst/>
          </a:prstGeom>
        </p:spPr>
      </p:pic>
    </p:spTree>
    <p:extLst>
      <p:ext uri="{BB962C8B-B14F-4D97-AF65-F5344CB8AC3E}">
        <p14:creationId xmlns:p14="http://schemas.microsoft.com/office/powerpoint/2010/main" val="46239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4095" y="1"/>
            <a:ext cx="5313040" cy="1083808"/>
          </a:xfrm>
        </p:spPr>
        <p:txBody>
          <a:bodyPr/>
          <a:lstStyle/>
          <a:p>
            <a:pPr algn="ctr"/>
            <a:r>
              <a:rPr lang="en-CA" sz="2800" b="1" dirty="0">
                <a:latin typeface="Georgia" panose="02040502050405020303" pitchFamily="18" charset="0"/>
              </a:rPr>
              <a:t>Implementation Strategy</a:t>
            </a:r>
          </a:p>
        </p:txBody>
      </p:sp>
      <p:sp>
        <p:nvSpPr>
          <p:cNvPr id="30" name="TextBox 29"/>
          <p:cNvSpPr txBox="1"/>
          <p:nvPr/>
        </p:nvSpPr>
        <p:spPr>
          <a:xfrm>
            <a:off x="147165" y="1226236"/>
            <a:ext cx="4192079" cy="1231106"/>
          </a:xfrm>
          <a:prstGeom prst="rect">
            <a:avLst/>
          </a:prstGeom>
        </p:spPr>
        <p:txBody>
          <a:bodyPr wrap="square" rtlCol="0">
            <a:spAutoFit/>
          </a:bodyPr>
          <a:lstStyle/>
          <a:p>
            <a:pPr algn="ctr"/>
            <a:r>
              <a:rPr lang="en-US" b="1" dirty="0">
                <a:solidFill>
                  <a:schemeClr val="accent1"/>
                </a:solidFill>
                <a:latin typeface="+mj-lt"/>
              </a:rPr>
              <a:t>Graduation Management Journey Declaring that the Universities are Data-Driven</a:t>
            </a:r>
          </a:p>
          <a:p>
            <a:endParaRPr lang="en-CA" sz="2000" b="1" dirty="0">
              <a:solidFill>
                <a:schemeClr val="accent1"/>
              </a:solidFill>
            </a:endParaRPr>
          </a:p>
        </p:txBody>
      </p:sp>
      <p:sp>
        <p:nvSpPr>
          <p:cNvPr id="31" name="TextBox 30"/>
          <p:cNvSpPr txBox="1"/>
          <p:nvPr/>
        </p:nvSpPr>
        <p:spPr>
          <a:xfrm>
            <a:off x="257173" y="2453728"/>
            <a:ext cx="4314827" cy="1600438"/>
          </a:xfrm>
          <a:prstGeom prst="rect">
            <a:avLst/>
          </a:prstGeom>
        </p:spPr>
        <p:txBody>
          <a:bodyPr wrap="square" rtlCol="0">
            <a:spAutoFit/>
          </a:bodyPr>
          <a:lstStyle/>
          <a:p>
            <a:r>
              <a:rPr lang="en-CA" sz="1400" dirty="0"/>
              <a:t>Our implementation plan included training for users and awareness to faculty members to influence confidence in the system.</a:t>
            </a:r>
          </a:p>
          <a:p>
            <a:endParaRPr lang="en-CA" sz="1400" dirty="0"/>
          </a:p>
          <a:p>
            <a:r>
              <a:rPr lang="en-CA" sz="1400" dirty="0"/>
              <a:t>WSU is using a Faculty Operating Model underpinned by Registrar D, the Academic Department, and the Faculty Office.</a:t>
            </a:r>
          </a:p>
        </p:txBody>
      </p:sp>
      <p:sp>
        <p:nvSpPr>
          <p:cNvPr id="33" name="Oval 32"/>
          <p:cNvSpPr/>
          <p:nvPr/>
        </p:nvSpPr>
        <p:spPr>
          <a:xfrm>
            <a:off x="2084619" y="4540327"/>
            <a:ext cx="748800" cy="7473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Oval 35"/>
          <p:cNvSpPr/>
          <p:nvPr/>
        </p:nvSpPr>
        <p:spPr>
          <a:xfrm>
            <a:off x="461904" y="4540327"/>
            <a:ext cx="748800" cy="7473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9" name="Oval 4"/>
          <p:cNvSpPr/>
          <p:nvPr/>
        </p:nvSpPr>
        <p:spPr>
          <a:xfrm>
            <a:off x="3774614" y="4540327"/>
            <a:ext cx="748800" cy="74734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41" name="Straight Connector 40"/>
          <p:cNvCxnSpPr>
            <a:stCxn id="36" idx="6"/>
            <a:endCxn id="33" idx="2"/>
          </p:cNvCxnSpPr>
          <p:nvPr/>
        </p:nvCxnSpPr>
        <p:spPr>
          <a:xfrm>
            <a:off x="1210704" y="4914000"/>
            <a:ext cx="8739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3" idx="6"/>
            <a:endCxn id="39" idx="2"/>
          </p:cNvCxnSpPr>
          <p:nvPr/>
        </p:nvCxnSpPr>
        <p:spPr>
          <a:xfrm>
            <a:off x="2833419" y="4914000"/>
            <a:ext cx="941195"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5360" y="4092173"/>
            <a:ext cx="1693911" cy="646331"/>
          </a:xfrm>
          <a:prstGeom prst="rect">
            <a:avLst/>
          </a:prstGeom>
        </p:spPr>
        <p:txBody>
          <a:bodyPr wrap="square" rtlCol="0">
            <a:spAutoFit/>
          </a:bodyPr>
          <a:lstStyle/>
          <a:p>
            <a:pPr algn="ctr"/>
            <a:r>
              <a:rPr lang="en-CA" b="1" dirty="0">
                <a:solidFill>
                  <a:schemeClr val="accent3"/>
                </a:solidFill>
              </a:rPr>
              <a:t>Data capturing </a:t>
            </a:r>
          </a:p>
        </p:txBody>
      </p:sp>
      <p:sp>
        <p:nvSpPr>
          <p:cNvPr id="44" name="TextBox 43"/>
          <p:cNvSpPr txBox="1"/>
          <p:nvPr/>
        </p:nvSpPr>
        <p:spPr>
          <a:xfrm>
            <a:off x="1681962" y="4092170"/>
            <a:ext cx="1561797" cy="369332"/>
          </a:xfrm>
          <a:prstGeom prst="rect">
            <a:avLst/>
          </a:prstGeom>
        </p:spPr>
        <p:txBody>
          <a:bodyPr wrap="square" rtlCol="0">
            <a:spAutoFit/>
          </a:bodyPr>
          <a:lstStyle/>
          <a:p>
            <a:pPr algn="ctr"/>
            <a:r>
              <a:rPr lang="en-CA" b="1" dirty="0">
                <a:solidFill>
                  <a:schemeClr val="accent3"/>
                </a:solidFill>
              </a:rPr>
              <a:t>Training </a:t>
            </a:r>
          </a:p>
        </p:txBody>
      </p:sp>
      <p:sp>
        <p:nvSpPr>
          <p:cNvPr id="45" name="TextBox 44"/>
          <p:cNvSpPr txBox="1"/>
          <p:nvPr/>
        </p:nvSpPr>
        <p:spPr>
          <a:xfrm>
            <a:off x="3327882" y="3730287"/>
            <a:ext cx="1661272" cy="646331"/>
          </a:xfrm>
          <a:prstGeom prst="rect">
            <a:avLst/>
          </a:prstGeom>
        </p:spPr>
        <p:txBody>
          <a:bodyPr wrap="square" rtlCol="0">
            <a:spAutoFit/>
          </a:bodyPr>
          <a:lstStyle/>
          <a:p>
            <a:pPr algn="ctr"/>
            <a:endParaRPr lang="en-CA" b="1" dirty="0">
              <a:solidFill>
                <a:schemeClr val="accent3"/>
              </a:solidFill>
            </a:endParaRPr>
          </a:p>
          <a:p>
            <a:pPr algn="ctr"/>
            <a:r>
              <a:rPr lang="en-CA" b="1" dirty="0">
                <a:solidFill>
                  <a:schemeClr val="accent3"/>
                </a:solidFill>
              </a:rPr>
              <a:t>Faculties</a:t>
            </a:r>
          </a:p>
        </p:txBody>
      </p:sp>
      <p:sp>
        <p:nvSpPr>
          <p:cNvPr id="46" name="TextBox 45"/>
          <p:cNvSpPr txBox="1"/>
          <p:nvPr/>
        </p:nvSpPr>
        <p:spPr>
          <a:xfrm>
            <a:off x="65360" y="5340525"/>
            <a:ext cx="1693911" cy="938719"/>
          </a:xfrm>
          <a:prstGeom prst="rect">
            <a:avLst/>
          </a:prstGeom>
        </p:spPr>
        <p:txBody>
          <a:bodyPr wrap="square" rtlCol="0">
            <a:spAutoFit/>
          </a:bodyPr>
          <a:lstStyle/>
          <a:p>
            <a:r>
              <a:rPr lang="en-CA" sz="1100" dirty="0"/>
              <a:t>Identified ITS system super-users within the AGU/Faculty Staff for capturing qualifications structure @ SACAD-40 </a:t>
            </a:r>
          </a:p>
        </p:txBody>
      </p:sp>
      <p:sp>
        <p:nvSpPr>
          <p:cNvPr id="47" name="TextBox 46"/>
          <p:cNvSpPr txBox="1"/>
          <p:nvPr/>
        </p:nvSpPr>
        <p:spPr>
          <a:xfrm>
            <a:off x="1660105" y="5325680"/>
            <a:ext cx="1629849" cy="1107996"/>
          </a:xfrm>
          <a:prstGeom prst="rect">
            <a:avLst/>
          </a:prstGeom>
        </p:spPr>
        <p:txBody>
          <a:bodyPr wrap="square" rtlCol="0">
            <a:spAutoFit/>
          </a:bodyPr>
          <a:lstStyle/>
          <a:p>
            <a:r>
              <a:rPr lang="en-CA" sz="1100" dirty="0"/>
              <a:t>Through training of all AGU/Faculty staff members assigned the identification of graduates' responsibility</a:t>
            </a:r>
          </a:p>
        </p:txBody>
      </p:sp>
      <p:sp>
        <p:nvSpPr>
          <p:cNvPr id="48" name="TextBox 47"/>
          <p:cNvSpPr txBox="1"/>
          <p:nvPr/>
        </p:nvSpPr>
        <p:spPr>
          <a:xfrm>
            <a:off x="3492283" y="5340525"/>
            <a:ext cx="1433787" cy="1107996"/>
          </a:xfrm>
          <a:prstGeom prst="rect">
            <a:avLst/>
          </a:prstGeom>
        </p:spPr>
        <p:txBody>
          <a:bodyPr wrap="square" rtlCol="0">
            <a:spAutoFit/>
          </a:bodyPr>
          <a:lstStyle/>
          <a:p>
            <a:r>
              <a:rPr lang="en-CA" sz="1100" dirty="0"/>
              <a:t>System exhibition to HoDs who are assigned the responsibility to co-sign graduates with AGU/Exams D.</a:t>
            </a:r>
          </a:p>
        </p:txBody>
      </p:sp>
      <p:sp>
        <p:nvSpPr>
          <p:cNvPr id="49" name="Rectangle 48"/>
          <p:cNvSpPr/>
          <p:nvPr/>
        </p:nvSpPr>
        <p:spPr>
          <a:xfrm>
            <a:off x="4940568" y="1136661"/>
            <a:ext cx="4070420" cy="4624579"/>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0" name="TextBox 49"/>
          <p:cNvSpPr txBox="1"/>
          <p:nvPr/>
        </p:nvSpPr>
        <p:spPr>
          <a:xfrm>
            <a:off x="5277522" y="1432975"/>
            <a:ext cx="3531137" cy="4042132"/>
          </a:xfrm>
          <a:prstGeom prst="rect">
            <a:avLst/>
          </a:prstGeom>
        </p:spPr>
        <p:txBody>
          <a:bodyPr wrap="square" rtlCol="0">
            <a:spAutoFit/>
          </a:bodyPr>
          <a:lstStyle/>
          <a:p>
            <a:pPr algn="ctr">
              <a:spcAft>
                <a:spcPts val="500"/>
              </a:spcAft>
            </a:pPr>
            <a:r>
              <a:rPr lang="en-CA" sz="1400" b="1" dirty="0">
                <a:solidFill>
                  <a:schemeClr val="accent3"/>
                </a:solidFill>
              </a:rPr>
              <a:t>Why have a system strategy roadmap?</a:t>
            </a:r>
          </a:p>
          <a:p>
            <a:pPr marL="285750" indent="-285750">
              <a:spcBef>
                <a:spcPts val="300"/>
              </a:spcBef>
              <a:buFont typeface="Arial" panose="020B0604020202020204" pitchFamily="34" charset="0"/>
              <a:buChar char="•"/>
            </a:pPr>
            <a:r>
              <a:rPr lang="en-CA" sz="1400" dirty="0"/>
              <a:t>Ensure initiatives are tracked and documented</a:t>
            </a:r>
          </a:p>
          <a:p>
            <a:pPr marL="285750" indent="-285750">
              <a:spcBef>
                <a:spcPts val="300"/>
              </a:spcBef>
              <a:buFont typeface="Arial" panose="020B0604020202020204" pitchFamily="34" charset="0"/>
              <a:buChar char="•"/>
            </a:pPr>
            <a:r>
              <a:rPr lang="en-CA" sz="1400" dirty="0"/>
              <a:t>Provide organizational transparency</a:t>
            </a:r>
            <a:endParaRPr lang="en-CA" sz="1200" dirty="0"/>
          </a:p>
          <a:p>
            <a:pPr marL="285750" indent="-285750">
              <a:spcBef>
                <a:spcPts val="300"/>
              </a:spcBef>
              <a:buFont typeface="Arial" panose="020B0604020202020204" pitchFamily="34" charset="0"/>
              <a:buChar char="•"/>
            </a:pPr>
            <a:r>
              <a:rPr lang="en-CA" sz="1400" dirty="0"/>
              <a:t>To guide business and IT optimization</a:t>
            </a:r>
            <a:endParaRPr lang="en-CA" sz="1200" dirty="0"/>
          </a:p>
          <a:p>
            <a:pPr marL="285750" indent="-285750">
              <a:buFont typeface="Arial" panose="020B0604020202020204" pitchFamily="34" charset="0"/>
              <a:buChar char="•"/>
            </a:pPr>
            <a:endParaRPr lang="en-CA" sz="1200" dirty="0"/>
          </a:p>
          <a:p>
            <a:pPr>
              <a:spcAft>
                <a:spcPts val="500"/>
              </a:spcAft>
            </a:pPr>
            <a:endParaRPr lang="en-CA" sz="1400" dirty="0">
              <a:solidFill>
                <a:schemeClr val="accent3"/>
              </a:solidFill>
            </a:endParaRPr>
          </a:p>
          <a:p>
            <a:pPr>
              <a:spcAft>
                <a:spcPts val="500"/>
              </a:spcAft>
            </a:pPr>
            <a:endParaRPr lang="en-CA" sz="1400" dirty="0">
              <a:solidFill>
                <a:schemeClr val="accent3"/>
              </a:solidFill>
            </a:endParaRPr>
          </a:p>
          <a:p>
            <a:pPr algn="ctr">
              <a:spcAft>
                <a:spcPts val="500"/>
              </a:spcAft>
            </a:pPr>
            <a:r>
              <a:rPr lang="en-CA" sz="1400" b="1" dirty="0">
                <a:solidFill>
                  <a:schemeClr val="accent3"/>
                </a:solidFill>
              </a:rPr>
              <a:t>What is the benefit of system roadmap?</a:t>
            </a:r>
          </a:p>
          <a:p>
            <a:pPr marL="171450" indent="-171450">
              <a:spcBef>
                <a:spcPts val="300"/>
              </a:spcBef>
              <a:buFont typeface="Arial" panose="020B0604020202020204" pitchFamily="34" charset="0"/>
              <a:buChar char="•"/>
            </a:pPr>
            <a:r>
              <a:rPr lang="en-CA" sz="1400" dirty="0"/>
              <a:t>Organizational alignment</a:t>
            </a:r>
            <a:endParaRPr lang="en-CA" sz="1200" dirty="0"/>
          </a:p>
          <a:p>
            <a:pPr marL="171450" indent="-171450">
              <a:spcBef>
                <a:spcPts val="300"/>
              </a:spcBef>
              <a:buFont typeface="Arial" panose="020B0604020202020204" pitchFamily="34" charset="0"/>
              <a:buChar char="•"/>
            </a:pPr>
            <a:r>
              <a:rPr lang="en-CA" sz="1400" dirty="0"/>
              <a:t>Operational controls</a:t>
            </a:r>
            <a:endParaRPr lang="en-CA" sz="1200" dirty="0"/>
          </a:p>
          <a:p>
            <a:pPr marL="171450" indent="-171450">
              <a:spcBef>
                <a:spcPts val="300"/>
              </a:spcBef>
              <a:buFont typeface="Arial" panose="020B0604020202020204" pitchFamily="34" charset="0"/>
              <a:buChar char="•"/>
            </a:pPr>
            <a:r>
              <a:rPr lang="en-CA" sz="1400" dirty="0"/>
              <a:t>Risk management</a:t>
            </a:r>
            <a:endParaRPr lang="en-CA" sz="1200" dirty="0"/>
          </a:p>
          <a:p>
            <a:pPr marL="171450" indent="-171450">
              <a:spcBef>
                <a:spcPts val="300"/>
              </a:spcBef>
              <a:buFont typeface="Arial" panose="020B0604020202020204" pitchFamily="34" charset="0"/>
              <a:buChar char="•"/>
            </a:pPr>
            <a:r>
              <a:rPr lang="en-CA" sz="1400" dirty="0"/>
              <a:t>Performance measurement</a:t>
            </a:r>
            <a:endParaRPr lang="en-CA" sz="1200" dirty="0"/>
          </a:p>
          <a:p>
            <a:pPr marL="171450" indent="-171450">
              <a:spcBef>
                <a:spcPts val="300"/>
              </a:spcBef>
              <a:buFont typeface="Arial" panose="020B0604020202020204" pitchFamily="34" charset="0"/>
              <a:buChar char="•"/>
            </a:pPr>
            <a:r>
              <a:rPr lang="en-CA" sz="1400" dirty="0"/>
              <a:t>Process management</a:t>
            </a:r>
            <a:endParaRPr lang="en-CA" sz="1200" dirty="0"/>
          </a:p>
          <a:p>
            <a:pPr marL="285750" indent="-285750">
              <a:buFont typeface="Arial" panose="020B0604020202020204" pitchFamily="34" charset="0"/>
              <a:buChar char="•"/>
            </a:pPr>
            <a:endParaRPr lang="en-CA" sz="1200" dirty="0"/>
          </a:p>
        </p:txBody>
      </p:sp>
      <p:cxnSp>
        <p:nvCxnSpPr>
          <p:cNvPr id="51" name="Straight Connector 2"/>
          <p:cNvCxnSpPr/>
          <p:nvPr/>
        </p:nvCxnSpPr>
        <p:spPr>
          <a:xfrm flipH="1">
            <a:off x="5092732" y="3254956"/>
            <a:ext cx="396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2" name="Picture 5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039" y="4727735"/>
            <a:ext cx="372529" cy="372529"/>
          </a:xfrm>
          <a:prstGeom prst="rect">
            <a:avLst/>
          </a:prstGeom>
        </p:spPr>
      </p:pic>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9409" y="4727735"/>
            <a:ext cx="376037" cy="376037"/>
          </a:xfrm>
          <a:prstGeom prst="rect">
            <a:avLst/>
          </a:prstGeom>
        </p:spPr>
      </p:pic>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8632" y="4712221"/>
            <a:ext cx="500763" cy="375572"/>
          </a:xfrm>
          <a:prstGeom prst="rect">
            <a:avLst/>
          </a:prstGeom>
        </p:spPr>
      </p:pic>
      <p:pic>
        <p:nvPicPr>
          <p:cNvPr id="3" name="Picture 2">
            <a:extLst>
              <a:ext uri="{FF2B5EF4-FFF2-40B4-BE49-F238E27FC236}">
                <a16:creationId xmlns:a16="http://schemas.microsoft.com/office/drawing/2014/main" id="{EF2D6A46-6AB0-6B21-2E44-B20ACCE47397}"/>
              </a:ext>
            </a:extLst>
          </p:cNvPr>
          <p:cNvPicPr>
            <a:picLocks noChangeAspect="1"/>
          </p:cNvPicPr>
          <p:nvPr/>
        </p:nvPicPr>
        <p:blipFill>
          <a:blip r:embed="rId5"/>
          <a:stretch>
            <a:fillRect/>
          </a:stretch>
        </p:blipFill>
        <p:spPr>
          <a:xfrm>
            <a:off x="8415" y="-31856"/>
            <a:ext cx="1950889" cy="1115665"/>
          </a:xfrm>
          <a:prstGeom prst="rect">
            <a:avLst/>
          </a:prstGeom>
        </p:spPr>
      </p:pic>
      <p:pic>
        <p:nvPicPr>
          <p:cNvPr id="4" name="Picture 3">
            <a:extLst>
              <a:ext uri="{FF2B5EF4-FFF2-40B4-BE49-F238E27FC236}">
                <a16:creationId xmlns:a16="http://schemas.microsoft.com/office/drawing/2014/main" id="{07A75337-BA1C-9A16-2320-1C913A6FF2F8}"/>
              </a:ext>
            </a:extLst>
          </p:cNvPr>
          <p:cNvPicPr>
            <a:picLocks noChangeAspect="1"/>
          </p:cNvPicPr>
          <p:nvPr/>
        </p:nvPicPr>
        <p:blipFill>
          <a:blip r:embed="rId6"/>
          <a:stretch>
            <a:fillRect/>
          </a:stretch>
        </p:blipFill>
        <p:spPr>
          <a:xfrm>
            <a:off x="7278346" y="0"/>
            <a:ext cx="1816765" cy="1140051"/>
          </a:xfrm>
          <a:prstGeom prst="rect">
            <a:avLst/>
          </a:prstGeom>
        </p:spPr>
      </p:pic>
      <p:pic>
        <p:nvPicPr>
          <p:cNvPr id="5" name="Picture 4">
            <a:extLst>
              <a:ext uri="{FF2B5EF4-FFF2-40B4-BE49-F238E27FC236}">
                <a16:creationId xmlns:a16="http://schemas.microsoft.com/office/drawing/2014/main" id="{886FCD59-1F6C-1BEB-8784-298EED34EE36}"/>
              </a:ext>
            </a:extLst>
          </p:cNvPr>
          <p:cNvPicPr>
            <a:picLocks noChangeAspect="1"/>
          </p:cNvPicPr>
          <p:nvPr/>
        </p:nvPicPr>
        <p:blipFill>
          <a:blip r:embed="rId7"/>
          <a:stretch>
            <a:fillRect/>
          </a:stretch>
        </p:blipFill>
        <p:spPr>
          <a:xfrm>
            <a:off x="-21385" y="6486526"/>
            <a:ext cx="9144000" cy="731520"/>
          </a:xfrm>
          <a:prstGeom prst="rect">
            <a:avLst/>
          </a:prstGeom>
        </p:spPr>
      </p:pic>
    </p:spTree>
    <p:extLst>
      <p:ext uri="{BB962C8B-B14F-4D97-AF65-F5344CB8AC3E}">
        <p14:creationId xmlns:p14="http://schemas.microsoft.com/office/powerpoint/2010/main" val="3591138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585097" y="-26677"/>
            <a:ext cx="5994455" cy="1112646"/>
          </a:xfrm>
        </p:spPr>
        <p:txBody>
          <a:bodyPr/>
          <a:lstStyle/>
          <a:p>
            <a:pPr algn="ctr"/>
            <a:r>
              <a:rPr lang="en-CA" sz="2800" b="1" dirty="0">
                <a:latin typeface="+mj-lt"/>
              </a:rPr>
              <a:t>ITS Graduation Management  </a:t>
            </a:r>
            <a:br>
              <a:rPr lang="en-CA" sz="2800" b="1" dirty="0">
                <a:latin typeface="+mj-lt"/>
              </a:rPr>
            </a:br>
            <a:r>
              <a:rPr lang="en-CA" sz="2800" b="1" dirty="0">
                <a:latin typeface="+mj-lt"/>
              </a:rPr>
              <a:t>system Overview</a:t>
            </a:r>
          </a:p>
        </p:txBody>
      </p:sp>
      <p:sp>
        <p:nvSpPr>
          <p:cNvPr id="8" name="TextBox 7"/>
          <p:cNvSpPr txBox="1"/>
          <p:nvPr/>
        </p:nvSpPr>
        <p:spPr>
          <a:xfrm>
            <a:off x="383065" y="1860351"/>
            <a:ext cx="4034244" cy="3091103"/>
          </a:xfrm>
          <a:prstGeom prst="rect">
            <a:avLst/>
          </a:prstGeom>
        </p:spPr>
        <p:txBody>
          <a:bodyPr wrap="square" rtlCol="0">
            <a:spAutoFit/>
          </a:bodyPr>
          <a:lstStyle/>
          <a:p>
            <a:pPr>
              <a:lnSpc>
                <a:spcPct val="115000"/>
              </a:lnSpc>
              <a:spcAft>
                <a:spcPts val="800"/>
              </a:spcAft>
            </a:pPr>
            <a:r>
              <a:rPr lang="en-US" sz="1400" dirty="0"/>
              <a:t>The graduation management system established for the two universities is a comprehensive system created to automate and streamline the process of determining graduate eligibility. </a:t>
            </a:r>
            <a:br>
              <a:rPr lang="en-US" sz="1200" dirty="0"/>
            </a:br>
            <a:endParaRPr lang="en-GB" sz="1200" kern="100" dirty="0">
              <a:effectLst/>
              <a:latin typeface="Aptos" panose="020B0004020202020204" pitchFamily="34" charset="0"/>
              <a:ea typeface="Aptos" panose="020B0004020202020204" pitchFamily="34" charset="0"/>
              <a:cs typeface="Times New Roman" panose="02020603050405020304" pitchFamily="18" charset="0"/>
            </a:endParaRPr>
          </a:p>
          <a:p>
            <a:r>
              <a:rPr lang="en-US" sz="1400" b="1" dirty="0">
                <a:solidFill>
                  <a:schemeClr val="accent2"/>
                </a:solidFill>
              </a:rPr>
              <a:t>Graduation Management System: </a:t>
            </a:r>
          </a:p>
          <a:p>
            <a:r>
              <a:rPr lang="en-US" sz="1200" b="1" dirty="0">
                <a:solidFill>
                  <a:srgbClr val="333333"/>
                </a:solidFill>
              </a:rPr>
              <a:t>Automates</a:t>
            </a:r>
            <a:r>
              <a:rPr lang="en-US" sz="1200" dirty="0">
                <a:solidFill>
                  <a:srgbClr val="333333"/>
                </a:solidFill>
              </a:rPr>
              <a:t> processes, reducing the amount of manual, routine work.</a:t>
            </a:r>
          </a:p>
          <a:p>
            <a:endParaRPr lang="en-US" sz="1200" dirty="0">
              <a:solidFill>
                <a:srgbClr val="333333"/>
              </a:solidFill>
            </a:endParaRPr>
          </a:p>
          <a:p>
            <a:r>
              <a:rPr lang="en-US" sz="1200" b="1" dirty="0">
                <a:solidFill>
                  <a:srgbClr val="333333"/>
                </a:solidFill>
              </a:rPr>
              <a:t>Integrates</a:t>
            </a:r>
            <a:r>
              <a:rPr lang="en-US" sz="1200" dirty="0">
                <a:solidFill>
                  <a:srgbClr val="333333"/>
                </a:solidFill>
              </a:rPr>
              <a:t> with core modules, eliminating the fragmentation of systems.</a:t>
            </a:r>
          </a:p>
          <a:p>
            <a:endParaRPr lang="en-US" sz="1200" dirty="0">
              <a:solidFill>
                <a:srgbClr val="333333"/>
              </a:solidFill>
            </a:endParaRPr>
          </a:p>
          <a:p>
            <a:r>
              <a:rPr lang="en-US" sz="1200" b="1" dirty="0">
                <a:solidFill>
                  <a:srgbClr val="333333"/>
                </a:solidFill>
              </a:rPr>
              <a:t>Reporting</a:t>
            </a:r>
            <a:r>
              <a:rPr lang="en-US" sz="1200" dirty="0">
                <a:solidFill>
                  <a:srgbClr val="333333"/>
                </a:solidFill>
              </a:rPr>
              <a:t> centralizes information from multiple parts of the value chain to a single point. </a:t>
            </a:r>
          </a:p>
        </p:txBody>
      </p:sp>
      <p:sp>
        <p:nvSpPr>
          <p:cNvPr id="9" name="TextBox 8"/>
          <p:cNvSpPr txBox="1"/>
          <p:nvPr/>
        </p:nvSpPr>
        <p:spPr>
          <a:xfrm>
            <a:off x="361554" y="1452427"/>
            <a:ext cx="3617209" cy="369332"/>
          </a:xfrm>
          <a:prstGeom prst="rect">
            <a:avLst/>
          </a:prstGeom>
          <a:noFill/>
        </p:spPr>
        <p:txBody>
          <a:bodyPr wrap="none" rtlCol="0">
            <a:spAutoFit/>
          </a:bodyPr>
          <a:lstStyle/>
          <a:p>
            <a:r>
              <a:rPr lang="en-US" b="1" dirty="0">
                <a:solidFill>
                  <a:schemeClr val="accent2"/>
                </a:solidFill>
              </a:rPr>
              <a:t>GRADUATION MANAGEMENT?</a:t>
            </a:r>
          </a:p>
        </p:txBody>
      </p:sp>
      <p:grpSp>
        <p:nvGrpSpPr>
          <p:cNvPr id="10" name="Group 53"/>
          <p:cNvGrpSpPr/>
          <p:nvPr/>
        </p:nvGrpSpPr>
        <p:grpSpPr>
          <a:xfrm>
            <a:off x="4390338" y="1426423"/>
            <a:ext cx="4272839" cy="4474167"/>
            <a:chOff x="404418" y="1392234"/>
            <a:chExt cx="4714949" cy="4937109"/>
          </a:xfrm>
        </p:grpSpPr>
        <p:cxnSp>
          <p:nvCxnSpPr>
            <p:cNvPr id="11" name="Straight Connector 56"/>
            <p:cNvCxnSpPr/>
            <p:nvPr/>
          </p:nvCxnSpPr>
          <p:spPr>
            <a:xfrm flipV="1">
              <a:off x="2763115" y="2311608"/>
              <a:ext cx="0" cy="770948"/>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54"/>
            <p:cNvCxnSpPr/>
            <p:nvPr/>
          </p:nvCxnSpPr>
          <p:spPr>
            <a:xfrm flipV="1">
              <a:off x="3159326" y="2697082"/>
              <a:ext cx="434022" cy="567298"/>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3" name="Group 55"/>
            <p:cNvGrpSpPr/>
            <p:nvPr/>
          </p:nvGrpSpPr>
          <p:grpSpPr>
            <a:xfrm>
              <a:off x="404418" y="1392234"/>
              <a:ext cx="4714949" cy="4937109"/>
              <a:chOff x="404418" y="1392234"/>
              <a:chExt cx="4714949" cy="4937109"/>
            </a:xfrm>
          </p:grpSpPr>
          <p:sp>
            <p:nvSpPr>
              <p:cNvPr id="22" name="Block Arc 73"/>
              <p:cNvSpPr/>
              <p:nvPr/>
            </p:nvSpPr>
            <p:spPr>
              <a:xfrm>
                <a:off x="757817" y="1871061"/>
                <a:ext cx="4008149" cy="4008149"/>
              </a:xfrm>
              <a:prstGeom prst="blockArc">
                <a:avLst>
                  <a:gd name="adj1" fmla="val 14040000"/>
                  <a:gd name="adj2" fmla="val 1620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23" name="Block Arc 74"/>
              <p:cNvSpPr/>
              <p:nvPr/>
            </p:nvSpPr>
            <p:spPr>
              <a:xfrm>
                <a:off x="757817" y="1871061"/>
                <a:ext cx="4008149" cy="4008149"/>
              </a:xfrm>
              <a:prstGeom prst="blockArc">
                <a:avLst>
                  <a:gd name="adj1" fmla="val 11880000"/>
                  <a:gd name="adj2" fmla="val 14040000"/>
                  <a:gd name="adj3" fmla="val 2757"/>
                </a:avLst>
              </a:prstGeom>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24" name="Block Arc 75"/>
              <p:cNvSpPr/>
              <p:nvPr/>
            </p:nvSpPr>
            <p:spPr>
              <a:xfrm>
                <a:off x="757817" y="1871061"/>
                <a:ext cx="4008149" cy="4008149"/>
              </a:xfrm>
              <a:prstGeom prst="blockArc">
                <a:avLst>
                  <a:gd name="adj1" fmla="val 9720000"/>
                  <a:gd name="adj2" fmla="val 1188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25" name="Block Arc 76"/>
              <p:cNvSpPr/>
              <p:nvPr/>
            </p:nvSpPr>
            <p:spPr>
              <a:xfrm>
                <a:off x="757817" y="1871061"/>
                <a:ext cx="4008149" cy="4008149"/>
              </a:xfrm>
              <a:prstGeom prst="blockArc">
                <a:avLst>
                  <a:gd name="adj1" fmla="val 7560000"/>
                  <a:gd name="adj2" fmla="val 972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26" name="Block Arc 77"/>
              <p:cNvSpPr/>
              <p:nvPr/>
            </p:nvSpPr>
            <p:spPr>
              <a:xfrm>
                <a:off x="757817" y="1871061"/>
                <a:ext cx="4008149" cy="4008149"/>
              </a:xfrm>
              <a:prstGeom prst="blockArc">
                <a:avLst>
                  <a:gd name="adj1" fmla="val 5400000"/>
                  <a:gd name="adj2" fmla="val 756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27" name="Block Arc 78"/>
              <p:cNvSpPr/>
              <p:nvPr/>
            </p:nvSpPr>
            <p:spPr>
              <a:xfrm>
                <a:off x="757817" y="1871061"/>
                <a:ext cx="4008149" cy="4008149"/>
              </a:xfrm>
              <a:prstGeom prst="blockArc">
                <a:avLst>
                  <a:gd name="adj1" fmla="val 3240000"/>
                  <a:gd name="adj2" fmla="val 540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28" name="Block Arc 79"/>
              <p:cNvSpPr/>
              <p:nvPr/>
            </p:nvSpPr>
            <p:spPr>
              <a:xfrm>
                <a:off x="757817" y="1871061"/>
                <a:ext cx="4008149" cy="4008149"/>
              </a:xfrm>
              <a:prstGeom prst="blockArc">
                <a:avLst>
                  <a:gd name="adj1" fmla="val 1080000"/>
                  <a:gd name="adj2" fmla="val 324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29" name="Block Arc 80"/>
              <p:cNvSpPr/>
              <p:nvPr/>
            </p:nvSpPr>
            <p:spPr>
              <a:xfrm>
                <a:off x="757817" y="1871061"/>
                <a:ext cx="4008149" cy="4008149"/>
              </a:xfrm>
              <a:prstGeom prst="blockArc">
                <a:avLst>
                  <a:gd name="adj1" fmla="val 20520000"/>
                  <a:gd name="adj2" fmla="val 108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30" name="Block Arc 81"/>
              <p:cNvSpPr/>
              <p:nvPr/>
            </p:nvSpPr>
            <p:spPr>
              <a:xfrm>
                <a:off x="757817" y="1871061"/>
                <a:ext cx="4008149" cy="4008149"/>
              </a:xfrm>
              <a:prstGeom prst="blockArc">
                <a:avLst>
                  <a:gd name="adj1" fmla="val 18360000"/>
                  <a:gd name="adj2" fmla="val 2052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31" name="Block Arc 82"/>
              <p:cNvSpPr/>
              <p:nvPr/>
            </p:nvSpPr>
            <p:spPr>
              <a:xfrm>
                <a:off x="757817" y="1871061"/>
                <a:ext cx="4008149" cy="4008149"/>
              </a:xfrm>
              <a:prstGeom prst="blockArc">
                <a:avLst>
                  <a:gd name="adj1" fmla="val 16200000"/>
                  <a:gd name="adj2" fmla="val 18360000"/>
                  <a:gd name="adj3" fmla="val 2757"/>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CA" dirty="0">
                  <a:solidFill>
                    <a:srgbClr val="FFFFFF"/>
                  </a:solidFill>
                </a:endParaRPr>
              </a:p>
            </p:txBody>
          </p:sp>
          <p:sp>
            <p:nvSpPr>
              <p:cNvPr id="32" name="Freeform 83"/>
              <p:cNvSpPr/>
              <p:nvPr/>
            </p:nvSpPr>
            <p:spPr>
              <a:xfrm>
                <a:off x="2284131" y="1392234"/>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Maintain Curriculum</a:t>
                </a:r>
              </a:p>
              <a:p>
                <a:pPr algn="ctr" defTabSz="400050">
                  <a:lnSpc>
                    <a:spcPct val="90000"/>
                  </a:lnSpc>
                  <a:spcBef>
                    <a:spcPct val="0"/>
                  </a:spcBef>
                  <a:spcAft>
                    <a:spcPct val="35000"/>
                  </a:spcAft>
                </a:pPr>
                <a:r>
                  <a:rPr lang="en-US" sz="900" dirty="0">
                    <a:solidFill>
                      <a:srgbClr val="FFFFFF"/>
                    </a:solidFill>
                  </a:rPr>
                  <a:t>Structure </a:t>
                </a:r>
              </a:p>
            </p:txBody>
          </p:sp>
          <p:sp>
            <p:nvSpPr>
              <p:cNvPr id="33" name="Freeform 84"/>
              <p:cNvSpPr/>
              <p:nvPr/>
            </p:nvSpPr>
            <p:spPr>
              <a:xfrm>
                <a:off x="3445858" y="1798396"/>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Verify Subjects Per Qualification</a:t>
                </a:r>
              </a:p>
            </p:txBody>
          </p:sp>
          <p:sp>
            <p:nvSpPr>
              <p:cNvPr id="34" name="Freeform 85"/>
              <p:cNvSpPr/>
              <p:nvPr/>
            </p:nvSpPr>
            <p:spPr>
              <a:xfrm>
                <a:off x="4163844" y="2786620"/>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Verification of Subjects Credits</a:t>
                </a:r>
              </a:p>
            </p:txBody>
          </p:sp>
          <p:sp>
            <p:nvSpPr>
              <p:cNvPr id="35" name="Freeform 86"/>
              <p:cNvSpPr/>
              <p:nvPr/>
            </p:nvSpPr>
            <p:spPr>
              <a:xfrm>
                <a:off x="4163844" y="3981161"/>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Verification of Subjects Credits</a:t>
                </a:r>
              </a:p>
            </p:txBody>
          </p:sp>
          <p:sp>
            <p:nvSpPr>
              <p:cNvPr id="36" name="Freeform 87"/>
              <p:cNvSpPr/>
              <p:nvPr/>
            </p:nvSpPr>
            <p:spPr>
              <a:xfrm>
                <a:off x="3407565" y="4977504"/>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Subject Grouping</a:t>
                </a:r>
              </a:p>
            </p:txBody>
          </p:sp>
          <p:sp>
            <p:nvSpPr>
              <p:cNvPr id="37" name="Freeform 88"/>
              <p:cNvSpPr/>
              <p:nvPr/>
            </p:nvSpPr>
            <p:spPr>
              <a:xfrm>
                <a:off x="2284131" y="5373824"/>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Setup Qualification Rules</a:t>
                </a:r>
              </a:p>
            </p:txBody>
          </p:sp>
          <p:sp>
            <p:nvSpPr>
              <p:cNvPr id="38" name="Freeform 90"/>
              <p:cNvSpPr/>
              <p:nvPr/>
            </p:nvSpPr>
            <p:spPr>
              <a:xfrm>
                <a:off x="404418" y="4008132"/>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Identification of Actual Graduates</a:t>
                </a:r>
              </a:p>
            </p:txBody>
          </p:sp>
          <p:sp>
            <p:nvSpPr>
              <p:cNvPr id="39" name="Freeform 91"/>
              <p:cNvSpPr/>
              <p:nvPr/>
            </p:nvSpPr>
            <p:spPr>
              <a:xfrm>
                <a:off x="404418" y="2786620"/>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Decision &amp; Ceremony Dates</a:t>
                </a:r>
              </a:p>
            </p:txBody>
          </p:sp>
          <p:sp>
            <p:nvSpPr>
              <p:cNvPr id="40" name="Freeform 92"/>
              <p:cNvSpPr/>
              <p:nvPr/>
            </p:nvSpPr>
            <p:spPr>
              <a:xfrm>
                <a:off x="1122405" y="1798396"/>
                <a:ext cx="955523" cy="955519"/>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chemeClr val="tx1"/>
                    </a:solidFill>
                  </a:rPr>
                  <a:t>Generate Certificate Numbers (WSU)</a:t>
                </a:r>
              </a:p>
            </p:txBody>
          </p:sp>
          <p:sp>
            <p:nvSpPr>
              <p:cNvPr id="41" name="Freeform 93"/>
              <p:cNvSpPr/>
              <p:nvPr/>
            </p:nvSpPr>
            <p:spPr>
              <a:xfrm>
                <a:off x="1961863" y="3075107"/>
                <a:ext cx="1600060" cy="1600060"/>
              </a:xfrm>
              <a:custGeom>
                <a:avLst/>
                <a:gdLst>
                  <a:gd name="connsiteX0" fmla="*/ 0 w 1600060"/>
                  <a:gd name="connsiteY0" fmla="*/ 800030 h 1600060"/>
                  <a:gd name="connsiteX1" fmla="*/ 800030 w 1600060"/>
                  <a:gd name="connsiteY1" fmla="*/ 0 h 1600060"/>
                  <a:gd name="connsiteX2" fmla="*/ 1600060 w 1600060"/>
                  <a:gd name="connsiteY2" fmla="*/ 800030 h 1600060"/>
                  <a:gd name="connsiteX3" fmla="*/ 800030 w 1600060"/>
                  <a:gd name="connsiteY3" fmla="*/ 1600060 h 1600060"/>
                  <a:gd name="connsiteX4" fmla="*/ 0 w 1600060"/>
                  <a:gd name="connsiteY4" fmla="*/ 800030 h 1600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60" h="1600060">
                    <a:moveTo>
                      <a:pt x="0" y="800030"/>
                    </a:moveTo>
                    <a:cubicBezTo>
                      <a:pt x="0" y="358186"/>
                      <a:pt x="358186" y="0"/>
                      <a:pt x="800030" y="0"/>
                    </a:cubicBezTo>
                    <a:cubicBezTo>
                      <a:pt x="1241874" y="0"/>
                      <a:pt x="1600060" y="358186"/>
                      <a:pt x="1600060" y="800030"/>
                    </a:cubicBezTo>
                    <a:cubicBezTo>
                      <a:pt x="1600060" y="1241874"/>
                      <a:pt x="1241874" y="1600060"/>
                      <a:pt x="800030" y="1600060"/>
                    </a:cubicBezTo>
                    <a:cubicBezTo>
                      <a:pt x="358186" y="1600060"/>
                      <a:pt x="0" y="1241874"/>
                      <a:pt x="0" y="800030"/>
                    </a:cubicBezTo>
                    <a:close/>
                  </a:path>
                </a:pathLst>
              </a:custGeom>
              <a:solidFill>
                <a:schemeClr val="accent3"/>
              </a:solidFill>
              <a:ln>
                <a:solidFill>
                  <a:schemeClr val="bg1"/>
                </a:solid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66750">
                  <a:lnSpc>
                    <a:spcPct val="90000"/>
                  </a:lnSpc>
                  <a:spcBef>
                    <a:spcPct val="0"/>
                  </a:spcBef>
                  <a:spcAft>
                    <a:spcPct val="35000"/>
                  </a:spcAft>
                </a:pPr>
                <a:r>
                  <a:rPr lang="en-US" sz="1500" b="1" dirty="0">
                    <a:solidFill>
                      <a:srgbClr val="FFFFFF"/>
                    </a:solidFill>
                  </a:rPr>
                  <a:t>Grad Man</a:t>
                </a:r>
              </a:p>
            </p:txBody>
          </p:sp>
        </p:grpSp>
        <p:cxnSp>
          <p:nvCxnSpPr>
            <p:cNvPr id="14" name="Straight Connector 57"/>
            <p:cNvCxnSpPr/>
            <p:nvPr/>
          </p:nvCxnSpPr>
          <p:spPr>
            <a:xfrm flipH="1" flipV="1">
              <a:off x="1930436" y="2697082"/>
              <a:ext cx="347914" cy="543802"/>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59"/>
            <p:cNvCxnSpPr/>
            <p:nvPr/>
          </p:nvCxnSpPr>
          <p:spPr>
            <a:xfrm flipH="1" flipV="1">
              <a:off x="1359941" y="3440387"/>
              <a:ext cx="646071" cy="16978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65"/>
            <p:cNvCxnSpPr/>
            <p:nvPr/>
          </p:nvCxnSpPr>
          <p:spPr>
            <a:xfrm flipV="1">
              <a:off x="1391368" y="4181987"/>
              <a:ext cx="614643" cy="162137"/>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68"/>
            <p:cNvCxnSpPr/>
            <p:nvPr/>
          </p:nvCxnSpPr>
          <p:spPr>
            <a:xfrm flipV="1">
              <a:off x="1837703" y="4508368"/>
              <a:ext cx="431377" cy="58724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69"/>
            <p:cNvCxnSpPr>
              <a:cxnSpLocks/>
              <a:stCxn id="37" idx="1"/>
              <a:endCxn id="41" idx="3"/>
            </p:cNvCxnSpPr>
            <p:nvPr/>
          </p:nvCxnSpPr>
          <p:spPr>
            <a:xfrm flipV="1">
              <a:off x="2761893" y="4675167"/>
              <a:ext cx="0" cy="698658"/>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70"/>
            <p:cNvCxnSpPr/>
            <p:nvPr/>
          </p:nvCxnSpPr>
          <p:spPr>
            <a:xfrm>
              <a:off x="3515504" y="4167652"/>
              <a:ext cx="616914" cy="176472"/>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71"/>
            <p:cNvCxnSpPr/>
            <p:nvPr/>
          </p:nvCxnSpPr>
          <p:spPr>
            <a:xfrm flipV="1">
              <a:off x="3501471" y="3452574"/>
              <a:ext cx="630948" cy="19887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72"/>
            <p:cNvCxnSpPr/>
            <p:nvPr/>
          </p:nvCxnSpPr>
          <p:spPr>
            <a:xfrm>
              <a:off x="3201754" y="4521425"/>
              <a:ext cx="399813" cy="521358"/>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42" name="Freeform 88"/>
          <p:cNvSpPr/>
          <p:nvPr/>
        </p:nvSpPr>
        <p:spPr>
          <a:xfrm>
            <a:off x="5055488" y="4692594"/>
            <a:ext cx="865926" cy="865922"/>
          </a:xfrm>
          <a:custGeom>
            <a:avLst/>
            <a:gdLst>
              <a:gd name="connsiteX0" fmla="*/ 0 w 1198901"/>
              <a:gd name="connsiteY0" fmla="*/ 599447 h 1198893"/>
              <a:gd name="connsiteX1" fmla="*/ 599451 w 1198901"/>
              <a:gd name="connsiteY1" fmla="*/ 0 h 1198893"/>
              <a:gd name="connsiteX2" fmla="*/ 1198902 w 1198901"/>
              <a:gd name="connsiteY2" fmla="*/ 599447 h 1198893"/>
              <a:gd name="connsiteX3" fmla="*/ 599451 w 1198901"/>
              <a:gd name="connsiteY3" fmla="*/ 1198894 h 1198893"/>
              <a:gd name="connsiteX4" fmla="*/ 0 w 1198901"/>
              <a:gd name="connsiteY4" fmla="*/ 599447 h 1198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901" h="1198893">
                <a:moveTo>
                  <a:pt x="0" y="599447"/>
                </a:moveTo>
                <a:cubicBezTo>
                  <a:pt x="0" y="268382"/>
                  <a:pt x="268383" y="0"/>
                  <a:pt x="599451" y="0"/>
                </a:cubicBezTo>
                <a:cubicBezTo>
                  <a:pt x="930519" y="0"/>
                  <a:pt x="1198902" y="268382"/>
                  <a:pt x="1198902" y="599447"/>
                </a:cubicBezTo>
                <a:cubicBezTo>
                  <a:pt x="1198902" y="930512"/>
                  <a:pt x="930519" y="1198894"/>
                  <a:pt x="599451" y="1198894"/>
                </a:cubicBezTo>
                <a:cubicBezTo>
                  <a:pt x="268383" y="1198894"/>
                  <a:pt x="0" y="930512"/>
                  <a:pt x="0" y="599447"/>
                </a:cubicBezTo>
                <a:close/>
              </a:path>
            </a:pathLst>
          </a:custGeom>
          <a:solidFill>
            <a:schemeClr val="bg1">
              <a:lumMod val="65000"/>
            </a:schemeClr>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6000" tIns="0" rIns="36000" bIns="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00050">
              <a:lnSpc>
                <a:spcPct val="90000"/>
              </a:lnSpc>
              <a:spcBef>
                <a:spcPct val="0"/>
              </a:spcBef>
              <a:spcAft>
                <a:spcPct val="35000"/>
              </a:spcAft>
            </a:pPr>
            <a:r>
              <a:rPr lang="en-US" sz="900" dirty="0">
                <a:solidFill>
                  <a:srgbClr val="FFFFFF"/>
                </a:solidFill>
              </a:rPr>
              <a:t>Automated eligibility criteria checks</a:t>
            </a:r>
          </a:p>
        </p:txBody>
      </p:sp>
      <p:pic>
        <p:nvPicPr>
          <p:cNvPr id="2" name="Picture 1">
            <a:extLst>
              <a:ext uri="{FF2B5EF4-FFF2-40B4-BE49-F238E27FC236}">
                <a16:creationId xmlns:a16="http://schemas.microsoft.com/office/drawing/2014/main" id="{7F6EE02B-83B5-56A1-ACCB-EF4F4D072D9E}"/>
              </a:ext>
            </a:extLst>
          </p:cNvPr>
          <p:cNvPicPr>
            <a:picLocks noChangeAspect="1"/>
          </p:cNvPicPr>
          <p:nvPr/>
        </p:nvPicPr>
        <p:blipFill>
          <a:blip r:embed="rId2"/>
          <a:stretch>
            <a:fillRect/>
          </a:stretch>
        </p:blipFill>
        <p:spPr>
          <a:xfrm>
            <a:off x="1" y="6052410"/>
            <a:ext cx="9144000" cy="890016"/>
          </a:xfrm>
          <a:prstGeom prst="rect">
            <a:avLst/>
          </a:prstGeom>
        </p:spPr>
      </p:pic>
      <p:pic>
        <p:nvPicPr>
          <p:cNvPr id="46" name="Picture 45">
            <a:extLst>
              <a:ext uri="{FF2B5EF4-FFF2-40B4-BE49-F238E27FC236}">
                <a16:creationId xmlns:a16="http://schemas.microsoft.com/office/drawing/2014/main" id="{BD11D418-C0CF-0677-83A0-D157C7DAA4BF}"/>
              </a:ext>
            </a:extLst>
          </p:cNvPr>
          <p:cNvPicPr>
            <a:picLocks noChangeAspect="1"/>
          </p:cNvPicPr>
          <p:nvPr/>
        </p:nvPicPr>
        <p:blipFill>
          <a:blip r:embed="rId3"/>
          <a:stretch>
            <a:fillRect/>
          </a:stretch>
        </p:blipFill>
        <p:spPr>
          <a:xfrm>
            <a:off x="-70446" y="10997"/>
            <a:ext cx="1585097" cy="1115665"/>
          </a:xfrm>
          <a:prstGeom prst="rect">
            <a:avLst/>
          </a:prstGeom>
        </p:spPr>
      </p:pic>
      <p:pic>
        <p:nvPicPr>
          <p:cNvPr id="47" name="Picture 46">
            <a:extLst>
              <a:ext uri="{FF2B5EF4-FFF2-40B4-BE49-F238E27FC236}">
                <a16:creationId xmlns:a16="http://schemas.microsoft.com/office/drawing/2014/main" id="{800D7DF8-46D3-E819-559A-7F3E5891974D}"/>
              </a:ext>
            </a:extLst>
          </p:cNvPr>
          <p:cNvPicPr>
            <a:picLocks noChangeAspect="1"/>
          </p:cNvPicPr>
          <p:nvPr/>
        </p:nvPicPr>
        <p:blipFill>
          <a:blip r:embed="rId4"/>
          <a:stretch>
            <a:fillRect/>
          </a:stretch>
        </p:blipFill>
        <p:spPr>
          <a:xfrm>
            <a:off x="7544850" y="-40380"/>
            <a:ext cx="1585097" cy="1140051"/>
          </a:xfrm>
          <a:prstGeom prst="rect">
            <a:avLst/>
          </a:prstGeom>
        </p:spPr>
      </p:pic>
    </p:spTree>
    <p:extLst>
      <p:ext uri="{BB962C8B-B14F-4D97-AF65-F5344CB8AC3E}">
        <p14:creationId xmlns:p14="http://schemas.microsoft.com/office/powerpoint/2010/main" val="3695041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86">
            <a:extLst>
              <a:ext uri="{FF2B5EF4-FFF2-40B4-BE49-F238E27FC236}">
                <a16:creationId xmlns:a16="http://schemas.microsoft.com/office/drawing/2014/main" id="{1242E8FD-8BD2-5A41-AB6E-CCB27B47D4B6}"/>
              </a:ext>
            </a:extLst>
          </p:cNvPr>
          <p:cNvSpPr txBox="1"/>
          <p:nvPr/>
        </p:nvSpPr>
        <p:spPr>
          <a:xfrm>
            <a:off x="1698877" y="-10338"/>
            <a:ext cx="5705610" cy="1015663"/>
          </a:xfrm>
          <a:prstGeom prst="rect">
            <a:avLst/>
          </a:prstGeom>
          <a:solidFill>
            <a:srgbClr val="0B144D"/>
          </a:solidFill>
        </p:spPr>
        <p:txBody>
          <a:bodyPr wrap="square" rtlCol="0">
            <a:spAutoFit/>
          </a:bodyPr>
          <a:lstStyle/>
          <a:p>
            <a:pPr defTabSz="685571">
              <a:defRPr/>
            </a:pPr>
            <a:r>
              <a:rPr lang="en-US" sz="3000" dirty="0">
                <a:solidFill>
                  <a:schemeClr val="bg1"/>
                </a:solidFill>
                <a:latin typeface="Montserrat SemiBold" panose="00000700000000000000" pitchFamily="2" charset="0"/>
              </a:rPr>
              <a:t>Benefits of Graduation Management System</a:t>
            </a:r>
          </a:p>
        </p:txBody>
      </p:sp>
      <p:sp>
        <p:nvSpPr>
          <p:cNvPr id="88" name="TextBox 87">
            <a:extLst>
              <a:ext uri="{FF2B5EF4-FFF2-40B4-BE49-F238E27FC236}">
                <a16:creationId xmlns:a16="http://schemas.microsoft.com/office/drawing/2014/main" id="{193BF21E-6BB2-3547-9DA1-6E6CFDC2CF92}"/>
              </a:ext>
            </a:extLst>
          </p:cNvPr>
          <p:cNvSpPr txBox="1"/>
          <p:nvPr/>
        </p:nvSpPr>
        <p:spPr>
          <a:xfrm>
            <a:off x="3768737" y="1671428"/>
            <a:ext cx="1606530" cy="253916"/>
          </a:xfrm>
          <a:prstGeom prst="rect">
            <a:avLst/>
          </a:prstGeom>
          <a:noFill/>
        </p:spPr>
        <p:txBody>
          <a:bodyPr wrap="none" rtlCol="0">
            <a:spAutoFit/>
          </a:bodyPr>
          <a:lstStyle/>
          <a:p>
            <a:pPr algn="ctr" defTabSz="685571">
              <a:defRPr/>
            </a:pPr>
            <a:r>
              <a:rPr lang="en-US" sz="1050" b="1" dirty="0">
                <a:solidFill>
                  <a:srgbClr val="6C8CC3"/>
                </a:solidFill>
                <a:latin typeface="Tenorite" panose="00000500000000000000" pitchFamily="2" charset="0"/>
              </a:rPr>
              <a:t>Key to Data Enablement</a:t>
            </a:r>
          </a:p>
        </p:txBody>
      </p:sp>
      <p:grpSp>
        <p:nvGrpSpPr>
          <p:cNvPr id="55" name="Group 54">
            <a:extLst>
              <a:ext uri="{FF2B5EF4-FFF2-40B4-BE49-F238E27FC236}">
                <a16:creationId xmlns:a16="http://schemas.microsoft.com/office/drawing/2014/main" id="{D2A31ABF-4D69-4345-8AC7-C9B822BD8FF5}"/>
              </a:ext>
            </a:extLst>
          </p:cNvPr>
          <p:cNvGrpSpPr/>
          <p:nvPr/>
        </p:nvGrpSpPr>
        <p:grpSpPr>
          <a:xfrm>
            <a:off x="4605382" y="1582528"/>
            <a:ext cx="3797919" cy="3921353"/>
            <a:chOff x="-152894" y="1039812"/>
            <a:chExt cx="5064552" cy="5229151"/>
          </a:xfrm>
        </p:grpSpPr>
        <p:sp>
          <p:nvSpPr>
            <p:cNvPr id="56" name="Arc 55">
              <a:extLst>
                <a:ext uri="{FF2B5EF4-FFF2-40B4-BE49-F238E27FC236}">
                  <a16:creationId xmlns:a16="http://schemas.microsoft.com/office/drawing/2014/main" id="{9FD031DE-7069-47CC-BA00-4FA9B6956D5D}"/>
                </a:ext>
              </a:extLst>
            </p:cNvPr>
            <p:cNvSpPr/>
            <p:nvPr/>
          </p:nvSpPr>
          <p:spPr>
            <a:xfrm>
              <a:off x="-152894" y="1591994"/>
              <a:ext cx="4470901" cy="4470901"/>
            </a:xfrm>
            <a:prstGeom prst="arc">
              <a:avLst>
                <a:gd name="adj1" fmla="val 16200000"/>
                <a:gd name="adj2" fmla="val 5410514"/>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grpSp>
          <p:nvGrpSpPr>
            <p:cNvPr id="58" name="Group 57">
              <a:extLst>
                <a:ext uri="{FF2B5EF4-FFF2-40B4-BE49-F238E27FC236}">
                  <a16:creationId xmlns:a16="http://schemas.microsoft.com/office/drawing/2014/main" id="{40C6E0D4-7826-489C-A79C-CCC507BEFF7E}"/>
                </a:ext>
              </a:extLst>
            </p:cNvPr>
            <p:cNvGrpSpPr/>
            <p:nvPr/>
          </p:nvGrpSpPr>
          <p:grpSpPr>
            <a:xfrm>
              <a:off x="1975491" y="1039812"/>
              <a:ext cx="2936167" cy="5229151"/>
              <a:chOff x="1975491" y="1039812"/>
              <a:chExt cx="2936167" cy="5229151"/>
            </a:xfrm>
          </p:grpSpPr>
          <p:sp>
            <p:nvSpPr>
              <p:cNvPr id="59" name="Oval 58">
                <a:extLst>
                  <a:ext uri="{FF2B5EF4-FFF2-40B4-BE49-F238E27FC236}">
                    <a16:creationId xmlns:a16="http://schemas.microsoft.com/office/drawing/2014/main" id="{A3B47380-3652-4496-B503-1B09A16E568C}"/>
                  </a:ext>
                </a:extLst>
              </p:cNvPr>
              <p:cNvSpPr/>
              <p:nvPr/>
            </p:nvSpPr>
            <p:spPr>
              <a:xfrm>
                <a:off x="1975491" y="1484928"/>
                <a:ext cx="214132" cy="2141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sp>
            <p:nvSpPr>
              <p:cNvPr id="60" name="Oval 59">
                <a:extLst>
                  <a:ext uri="{FF2B5EF4-FFF2-40B4-BE49-F238E27FC236}">
                    <a16:creationId xmlns:a16="http://schemas.microsoft.com/office/drawing/2014/main" id="{FBCB8A1B-F5C4-4D68-8259-8556319C385D}"/>
                  </a:ext>
                </a:extLst>
              </p:cNvPr>
              <p:cNvSpPr/>
              <p:nvPr/>
            </p:nvSpPr>
            <p:spPr>
              <a:xfrm>
                <a:off x="1975491" y="5955829"/>
                <a:ext cx="214132" cy="2141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sp>
            <p:nvSpPr>
              <p:cNvPr id="61" name="Oval 60">
                <a:extLst>
                  <a:ext uri="{FF2B5EF4-FFF2-40B4-BE49-F238E27FC236}">
                    <a16:creationId xmlns:a16="http://schemas.microsoft.com/office/drawing/2014/main" id="{4C18D3EA-655A-49F2-BD89-ECDCA4BE327C}"/>
                  </a:ext>
                </a:extLst>
              </p:cNvPr>
              <p:cNvSpPr/>
              <p:nvPr/>
            </p:nvSpPr>
            <p:spPr>
              <a:xfrm>
                <a:off x="3908488" y="3417925"/>
                <a:ext cx="819038" cy="81903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sp>
            <p:nvSpPr>
              <p:cNvPr id="62" name="Oval 61">
                <a:extLst>
                  <a:ext uri="{FF2B5EF4-FFF2-40B4-BE49-F238E27FC236}">
                    <a16:creationId xmlns:a16="http://schemas.microsoft.com/office/drawing/2014/main" id="{181672AE-31B0-4C21-A16A-BF49A7104E89}"/>
                  </a:ext>
                </a:extLst>
              </p:cNvPr>
              <p:cNvSpPr/>
              <p:nvPr/>
            </p:nvSpPr>
            <p:spPr>
              <a:xfrm>
                <a:off x="2587688" y="5449925"/>
                <a:ext cx="819038" cy="81903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sp>
            <p:nvSpPr>
              <p:cNvPr id="63" name="Oval 62">
                <a:extLst>
                  <a:ext uri="{FF2B5EF4-FFF2-40B4-BE49-F238E27FC236}">
                    <a16:creationId xmlns:a16="http://schemas.microsoft.com/office/drawing/2014/main" id="{E8C9C6B2-E740-4669-9F8C-D2D6C0F081BF}"/>
                  </a:ext>
                </a:extLst>
              </p:cNvPr>
              <p:cNvSpPr/>
              <p:nvPr/>
            </p:nvSpPr>
            <p:spPr>
              <a:xfrm>
                <a:off x="2587688" y="1385925"/>
                <a:ext cx="819038" cy="81903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sp>
            <p:nvSpPr>
              <p:cNvPr id="64" name="Oval 63">
                <a:extLst>
                  <a:ext uri="{FF2B5EF4-FFF2-40B4-BE49-F238E27FC236}">
                    <a16:creationId xmlns:a16="http://schemas.microsoft.com/office/drawing/2014/main" id="{7B079E32-0796-4109-A1CF-7B6460C1D0C8}"/>
                  </a:ext>
                </a:extLst>
              </p:cNvPr>
              <p:cNvSpPr/>
              <p:nvPr/>
            </p:nvSpPr>
            <p:spPr>
              <a:xfrm>
                <a:off x="3497989" y="4612926"/>
                <a:ext cx="819038" cy="81903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sp>
            <p:nvSpPr>
              <p:cNvPr id="65" name="Oval 64">
                <a:extLst>
                  <a:ext uri="{FF2B5EF4-FFF2-40B4-BE49-F238E27FC236}">
                    <a16:creationId xmlns:a16="http://schemas.microsoft.com/office/drawing/2014/main" id="{0E87280D-9FB8-43E5-B8D1-4083DF8E92F3}"/>
                  </a:ext>
                </a:extLst>
              </p:cNvPr>
              <p:cNvSpPr/>
              <p:nvPr/>
            </p:nvSpPr>
            <p:spPr>
              <a:xfrm>
                <a:off x="3497989" y="2222924"/>
                <a:ext cx="819038" cy="81903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71">
                  <a:defRPr/>
                </a:pPr>
                <a:endParaRPr lang="en-US" sz="1350" dirty="0">
                  <a:solidFill>
                    <a:srgbClr val="FFFFFF"/>
                  </a:solidFill>
                  <a:latin typeface="Roboto Light" panose="02000000000000000000" pitchFamily="2" charset="0"/>
                  <a:ea typeface="Roboto Light" panose="02000000000000000000" pitchFamily="2" charset="0"/>
                </a:endParaRPr>
              </a:p>
            </p:txBody>
          </p:sp>
          <p:sp>
            <p:nvSpPr>
              <p:cNvPr id="67" name="TextBox 66">
                <a:extLst>
                  <a:ext uri="{FF2B5EF4-FFF2-40B4-BE49-F238E27FC236}">
                    <a16:creationId xmlns:a16="http://schemas.microsoft.com/office/drawing/2014/main" id="{F62EB817-BAEC-4234-9D6F-135F9AB3CAC0}"/>
                  </a:ext>
                </a:extLst>
              </p:cNvPr>
              <p:cNvSpPr txBox="1"/>
              <p:nvPr/>
            </p:nvSpPr>
            <p:spPr>
              <a:xfrm>
                <a:off x="4635810" y="2260869"/>
                <a:ext cx="246340" cy="369380"/>
              </a:xfrm>
              <a:prstGeom prst="rect">
                <a:avLst/>
              </a:prstGeom>
              <a:noFill/>
            </p:spPr>
            <p:txBody>
              <a:bodyPr wrap="none" rtlCol="0" anchor="b" anchorCtr="0">
                <a:spAutoFit/>
              </a:bodyPr>
              <a:lstStyle/>
              <a:p>
                <a:pPr defTabSz="685571">
                  <a:defRPr/>
                </a:pPr>
                <a:endParaRPr lang="en-US" sz="1200" b="1" dirty="0">
                  <a:solidFill>
                    <a:srgbClr val="08204C"/>
                  </a:solidFill>
                  <a:latin typeface="Roboto Light" panose="02000000000000000000" pitchFamily="2" charset="0"/>
                  <a:ea typeface="Roboto Light" panose="02000000000000000000" pitchFamily="2" charset="0"/>
                  <a:cs typeface="Poppins" pitchFamily="2" charset="77"/>
                </a:endParaRPr>
              </a:p>
            </p:txBody>
          </p:sp>
          <p:sp>
            <p:nvSpPr>
              <p:cNvPr id="73" name="TextBox 72">
                <a:extLst>
                  <a:ext uri="{FF2B5EF4-FFF2-40B4-BE49-F238E27FC236}">
                    <a16:creationId xmlns:a16="http://schemas.microsoft.com/office/drawing/2014/main" id="{2E2D2025-B846-4629-ACDD-41236D1A956A}"/>
                  </a:ext>
                </a:extLst>
              </p:cNvPr>
              <p:cNvSpPr txBox="1"/>
              <p:nvPr/>
            </p:nvSpPr>
            <p:spPr>
              <a:xfrm>
                <a:off x="2903355" y="1039812"/>
                <a:ext cx="2008303" cy="677196"/>
              </a:xfrm>
              <a:prstGeom prst="rect">
                <a:avLst/>
              </a:prstGeom>
              <a:noFill/>
            </p:spPr>
            <p:txBody>
              <a:bodyPr wrap="square" rtlCol="0" anchor="b" anchorCtr="0">
                <a:spAutoFit/>
              </a:bodyPr>
              <a:lstStyle/>
              <a:p>
                <a:pPr algn="ctr" defTabSz="685571">
                  <a:defRPr/>
                </a:pPr>
                <a:r>
                  <a:rPr lang="en-US" sz="900" dirty="0">
                    <a:solidFill>
                      <a:srgbClr val="08204C"/>
                    </a:solidFill>
                    <a:latin typeface="Tenorite" panose="00000500000000000000" pitchFamily="2" charset="0"/>
                    <a:ea typeface="Roboto Light" panose="02000000000000000000" pitchFamily="2" charset="0"/>
                    <a:cs typeface="Poppins" pitchFamily="2" charset="77"/>
                  </a:rPr>
                  <a:t>Defined Data Accountability &amp; Responsibility</a:t>
                </a:r>
              </a:p>
            </p:txBody>
          </p:sp>
          <p:sp>
            <p:nvSpPr>
              <p:cNvPr id="75" name="Freeform 35">
                <a:extLst>
                  <a:ext uri="{FF2B5EF4-FFF2-40B4-BE49-F238E27FC236}">
                    <a16:creationId xmlns:a16="http://schemas.microsoft.com/office/drawing/2014/main" id="{FD96F1C0-8CC4-4A2C-9C9F-175BF528143F}"/>
                  </a:ext>
                </a:extLst>
              </p:cNvPr>
              <p:cNvSpPr>
                <a:spLocks noChangeAspect="1"/>
              </p:cNvSpPr>
              <p:nvPr/>
            </p:nvSpPr>
            <p:spPr bwMode="auto">
              <a:xfrm>
                <a:off x="2812991" y="1611775"/>
                <a:ext cx="368433" cy="367338"/>
              </a:xfrm>
              <a:custGeom>
                <a:avLst/>
                <a:gdLst>
                  <a:gd name="T0" fmla="*/ 2147483646 w 818"/>
                  <a:gd name="T1" fmla="*/ 2147483646 h 817"/>
                  <a:gd name="T2" fmla="*/ 2147483646 w 818"/>
                  <a:gd name="T3" fmla="*/ 2147483646 h 817"/>
                  <a:gd name="T4" fmla="*/ 2147483646 w 818"/>
                  <a:gd name="T5" fmla="*/ 2147483646 h 817"/>
                  <a:gd name="T6" fmla="*/ 2147483646 w 818"/>
                  <a:gd name="T7" fmla="*/ 2147483646 h 817"/>
                  <a:gd name="T8" fmla="*/ 2147483646 w 818"/>
                  <a:gd name="T9" fmla="*/ 2147483646 h 817"/>
                  <a:gd name="T10" fmla="*/ 2147483646 w 818"/>
                  <a:gd name="T11" fmla="*/ 2147483646 h 817"/>
                  <a:gd name="T12" fmla="*/ 2147483646 w 818"/>
                  <a:gd name="T13" fmla="*/ 2147483646 h 817"/>
                  <a:gd name="T14" fmla="*/ 2147483646 w 818"/>
                  <a:gd name="T15" fmla="*/ 2147483646 h 817"/>
                  <a:gd name="T16" fmla="*/ 2147483646 w 818"/>
                  <a:gd name="T17" fmla="*/ 2147483646 h 817"/>
                  <a:gd name="T18" fmla="*/ 2147483646 w 818"/>
                  <a:gd name="T19" fmla="*/ 2147483646 h 817"/>
                  <a:gd name="T20" fmla="*/ 2147483646 w 818"/>
                  <a:gd name="T21" fmla="*/ 2147483646 h 817"/>
                  <a:gd name="T22" fmla="*/ 2147483646 w 818"/>
                  <a:gd name="T23" fmla="*/ 2147483646 h 817"/>
                  <a:gd name="T24" fmla="*/ 2147483646 w 818"/>
                  <a:gd name="T25" fmla="*/ 2147483646 h 817"/>
                  <a:gd name="T26" fmla="*/ 2147483646 w 818"/>
                  <a:gd name="T27" fmla="*/ 2147483646 h 817"/>
                  <a:gd name="T28" fmla="*/ 2147483646 w 818"/>
                  <a:gd name="T29" fmla="*/ 2147483646 h 817"/>
                  <a:gd name="T30" fmla="*/ 2147483646 w 818"/>
                  <a:gd name="T31" fmla="*/ 2147483646 h 817"/>
                  <a:gd name="T32" fmla="*/ 2147483646 w 818"/>
                  <a:gd name="T33" fmla="*/ 2147483646 h 817"/>
                  <a:gd name="T34" fmla="*/ 2147483646 w 818"/>
                  <a:gd name="T35" fmla="*/ 2147483646 h 817"/>
                  <a:gd name="T36" fmla="*/ 2147483646 w 818"/>
                  <a:gd name="T37" fmla="*/ 2147483646 h 817"/>
                  <a:gd name="T38" fmla="*/ 2147483646 w 818"/>
                  <a:gd name="T39" fmla="*/ 2147483646 h 817"/>
                  <a:gd name="T40" fmla="*/ 2147483646 w 818"/>
                  <a:gd name="T41" fmla="*/ 2147483646 h 817"/>
                  <a:gd name="T42" fmla="*/ 2147483646 w 818"/>
                  <a:gd name="T43" fmla="*/ 2147483646 h 817"/>
                  <a:gd name="T44" fmla="*/ 2147483646 w 818"/>
                  <a:gd name="T45" fmla="*/ 2147483646 h 817"/>
                  <a:gd name="T46" fmla="*/ 2147483646 w 818"/>
                  <a:gd name="T47" fmla="*/ 2147483646 h 817"/>
                  <a:gd name="T48" fmla="*/ 2147483646 w 818"/>
                  <a:gd name="T49" fmla="*/ 2147483646 h 817"/>
                  <a:gd name="T50" fmla="*/ 2147483646 w 818"/>
                  <a:gd name="T51" fmla="*/ 2147483646 h 817"/>
                  <a:gd name="T52" fmla="*/ 2147483646 w 818"/>
                  <a:gd name="T53" fmla="*/ 2147483646 h 817"/>
                  <a:gd name="T54" fmla="*/ 2147483646 w 818"/>
                  <a:gd name="T55" fmla="*/ 2147483646 h 817"/>
                  <a:gd name="T56" fmla="*/ 2147483646 w 818"/>
                  <a:gd name="T57" fmla="*/ 2147483646 h 817"/>
                  <a:gd name="T58" fmla="*/ 2147483646 w 818"/>
                  <a:gd name="T59" fmla="*/ 2147483646 h 817"/>
                  <a:gd name="T60" fmla="*/ 2147483646 w 818"/>
                  <a:gd name="T61" fmla="*/ 2147483646 h 817"/>
                  <a:gd name="T62" fmla="*/ 2147483646 w 818"/>
                  <a:gd name="T63" fmla="*/ 2147483646 h 817"/>
                  <a:gd name="T64" fmla="*/ 2147483646 w 818"/>
                  <a:gd name="T65" fmla="*/ 2147483646 h 817"/>
                  <a:gd name="T66" fmla="*/ 2147483646 w 818"/>
                  <a:gd name="T67" fmla="*/ 2147483646 h 817"/>
                  <a:gd name="T68" fmla="*/ 2147483646 w 818"/>
                  <a:gd name="T69" fmla="*/ 2147483646 h 817"/>
                  <a:gd name="T70" fmla="*/ 2147483646 w 818"/>
                  <a:gd name="T71" fmla="*/ 2147483646 h 817"/>
                  <a:gd name="T72" fmla="*/ 2147483646 w 818"/>
                  <a:gd name="T73" fmla="*/ 2147483646 h 817"/>
                  <a:gd name="T74" fmla="*/ 2147483646 w 818"/>
                  <a:gd name="T75" fmla="*/ 2147483646 h 817"/>
                  <a:gd name="T76" fmla="*/ 2147483646 w 818"/>
                  <a:gd name="T77" fmla="*/ 2147483646 h 817"/>
                  <a:gd name="T78" fmla="*/ 2147483646 w 818"/>
                  <a:gd name="T79" fmla="*/ 2147483646 h 817"/>
                  <a:gd name="T80" fmla="*/ 2147483646 w 818"/>
                  <a:gd name="T81" fmla="*/ 2147483646 h 817"/>
                  <a:gd name="T82" fmla="*/ 2147483646 w 818"/>
                  <a:gd name="T83" fmla="*/ 0 h 817"/>
                  <a:gd name="T84" fmla="*/ 2147483646 w 818"/>
                  <a:gd name="T85" fmla="*/ 0 h 817"/>
                  <a:gd name="T86" fmla="*/ 0 w 818"/>
                  <a:gd name="T87" fmla="*/ 2147483646 h 817"/>
                  <a:gd name="T88" fmla="*/ 2147483646 w 818"/>
                  <a:gd name="T89" fmla="*/ 2147483646 h 817"/>
                  <a:gd name="T90" fmla="*/ 2147483646 w 818"/>
                  <a:gd name="T91" fmla="*/ 2147483646 h 817"/>
                  <a:gd name="T92" fmla="*/ 2147483646 w 818"/>
                  <a:gd name="T93" fmla="*/ 2147483646 h 817"/>
                  <a:gd name="T94" fmla="*/ 2147483646 w 818"/>
                  <a:gd name="T95" fmla="*/ 2147483646 h 817"/>
                  <a:gd name="T96" fmla="*/ 2147483646 w 818"/>
                  <a:gd name="T97" fmla="*/ 2147483646 h 817"/>
                  <a:gd name="T98" fmla="*/ 2147483646 w 818"/>
                  <a:gd name="T99" fmla="*/ 2147483646 h 817"/>
                  <a:gd name="T100" fmla="*/ 2147483646 w 818"/>
                  <a:gd name="T101" fmla="*/ 2147483646 h 817"/>
                  <a:gd name="T102" fmla="*/ 2147483646 w 818"/>
                  <a:gd name="T103" fmla="*/ 2147483646 h 817"/>
                  <a:gd name="T104" fmla="*/ 2147483646 w 818"/>
                  <a:gd name="T105" fmla="*/ 2147483646 h 817"/>
                  <a:gd name="T106" fmla="*/ 2147483646 w 818"/>
                  <a:gd name="T107" fmla="*/ 2147483646 h 817"/>
                  <a:gd name="T108" fmla="*/ 2147483646 w 818"/>
                  <a:gd name="T109" fmla="*/ 0 h 8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8" h="817">
                    <a:moveTo>
                      <a:pt x="588" y="572"/>
                    </a:moveTo>
                    <a:lnTo>
                      <a:pt x="527" y="395"/>
                    </a:lnTo>
                    <a:lnTo>
                      <a:pt x="704" y="456"/>
                    </a:lnTo>
                    <a:lnTo>
                      <a:pt x="628" y="489"/>
                    </a:lnTo>
                    <a:cubicBezTo>
                      <a:pt x="625" y="491"/>
                      <a:pt x="623" y="493"/>
                      <a:pt x="622" y="496"/>
                    </a:cubicBezTo>
                    <a:lnTo>
                      <a:pt x="588" y="572"/>
                    </a:lnTo>
                    <a:close/>
                    <a:moveTo>
                      <a:pt x="792" y="593"/>
                    </a:moveTo>
                    <a:lnTo>
                      <a:pt x="606" y="593"/>
                    </a:lnTo>
                    <a:lnTo>
                      <a:pt x="643" y="510"/>
                    </a:lnTo>
                    <a:lnTo>
                      <a:pt x="743" y="465"/>
                    </a:lnTo>
                    <a:cubicBezTo>
                      <a:pt x="748" y="464"/>
                      <a:pt x="751" y="459"/>
                      <a:pt x="750" y="454"/>
                    </a:cubicBezTo>
                    <a:cubicBezTo>
                      <a:pt x="750" y="449"/>
                      <a:pt x="747" y="444"/>
                      <a:pt x="742" y="442"/>
                    </a:cubicBezTo>
                    <a:lnTo>
                      <a:pt x="586" y="389"/>
                    </a:lnTo>
                    <a:lnTo>
                      <a:pt x="586" y="316"/>
                    </a:lnTo>
                    <a:cubicBezTo>
                      <a:pt x="586" y="310"/>
                      <a:pt x="580" y="304"/>
                      <a:pt x="573" y="304"/>
                    </a:cubicBezTo>
                    <a:cubicBezTo>
                      <a:pt x="567" y="304"/>
                      <a:pt x="561" y="310"/>
                      <a:pt x="561" y="316"/>
                    </a:cubicBezTo>
                    <a:lnTo>
                      <a:pt x="561" y="380"/>
                    </a:lnTo>
                    <a:lnTo>
                      <a:pt x="511" y="363"/>
                    </a:lnTo>
                    <a:cubicBezTo>
                      <a:pt x="507" y="362"/>
                      <a:pt x="502" y="363"/>
                      <a:pt x="498" y="367"/>
                    </a:cubicBezTo>
                    <a:cubicBezTo>
                      <a:pt x="495" y="369"/>
                      <a:pt x="494" y="375"/>
                      <a:pt x="495" y="379"/>
                    </a:cubicBezTo>
                    <a:lnTo>
                      <a:pt x="524" y="462"/>
                    </a:lnTo>
                    <a:lnTo>
                      <a:pt x="256" y="462"/>
                    </a:lnTo>
                    <a:lnTo>
                      <a:pt x="256" y="157"/>
                    </a:lnTo>
                    <a:lnTo>
                      <a:pt x="561" y="157"/>
                    </a:lnTo>
                    <a:lnTo>
                      <a:pt x="561" y="220"/>
                    </a:lnTo>
                    <a:cubicBezTo>
                      <a:pt x="540" y="240"/>
                      <a:pt x="435" y="346"/>
                      <a:pt x="404" y="377"/>
                    </a:cubicBezTo>
                    <a:lnTo>
                      <a:pt x="327" y="300"/>
                    </a:lnTo>
                    <a:cubicBezTo>
                      <a:pt x="322" y="296"/>
                      <a:pt x="314" y="296"/>
                      <a:pt x="309" y="300"/>
                    </a:cubicBezTo>
                    <a:cubicBezTo>
                      <a:pt x="305" y="305"/>
                      <a:pt x="305" y="313"/>
                      <a:pt x="309" y="318"/>
                    </a:cubicBezTo>
                    <a:lnTo>
                      <a:pt x="395" y="404"/>
                    </a:lnTo>
                    <a:cubicBezTo>
                      <a:pt x="400" y="408"/>
                      <a:pt x="408" y="408"/>
                      <a:pt x="413" y="404"/>
                    </a:cubicBezTo>
                    <a:cubicBezTo>
                      <a:pt x="586" y="230"/>
                      <a:pt x="586" y="230"/>
                      <a:pt x="586" y="224"/>
                    </a:cubicBezTo>
                    <a:lnTo>
                      <a:pt x="586" y="144"/>
                    </a:lnTo>
                    <a:cubicBezTo>
                      <a:pt x="586" y="138"/>
                      <a:pt x="580" y="132"/>
                      <a:pt x="573" y="132"/>
                    </a:cubicBezTo>
                    <a:lnTo>
                      <a:pt x="244" y="132"/>
                    </a:lnTo>
                    <a:cubicBezTo>
                      <a:pt x="237" y="132"/>
                      <a:pt x="231" y="138"/>
                      <a:pt x="231" y="144"/>
                    </a:cubicBezTo>
                    <a:lnTo>
                      <a:pt x="231" y="474"/>
                    </a:lnTo>
                    <a:cubicBezTo>
                      <a:pt x="231" y="480"/>
                      <a:pt x="237" y="487"/>
                      <a:pt x="244" y="487"/>
                    </a:cubicBezTo>
                    <a:lnTo>
                      <a:pt x="532" y="487"/>
                    </a:lnTo>
                    <a:lnTo>
                      <a:pt x="575" y="610"/>
                    </a:lnTo>
                    <a:cubicBezTo>
                      <a:pt x="576" y="615"/>
                      <a:pt x="581" y="618"/>
                      <a:pt x="586" y="618"/>
                    </a:cubicBezTo>
                    <a:lnTo>
                      <a:pt x="792" y="618"/>
                    </a:lnTo>
                    <a:lnTo>
                      <a:pt x="792" y="656"/>
                    </a:lnTo>
                    <a:cubicBezTo>
                      <a:pt x="792" y="676"/>
                      <a:pt x="775" y="692"/>
                      <a:pt x="754" y="692"/>
                    </a:cubicBezTo>
                    <a:lnTo>
                      <a:pt x="63" y="692"/>
                    </a:lnTo>
                    <a:cubicBezTo>
                      <a:pt x="42" y="692"/>
                      <a:pt x="25" y="676"/>
                      <a:pt x="25" y="656"/>
                    </a:cubicBezTo>
                    <a:lnTo>
                      <a:pt x="25" y="618"/>
                    </a:lnTo>
                    <a:lnTo>
                      <a:pt x="521" y="618"/>
                    </a:lnTo>
                    <a:cubicBezTo>
                      <a:pt x="527" y="618"/>
                      <a:pt x="533" y="613"/>
                      <a:pt x="533" y="606"/>
                    </a:cubicBezTo>
                    <a:cubicBezTo>
                      <a:pt x="533" y="599"/>
                      <a:pt x="527" y="593"/>
                      <a:pt x="521" y="593"/>
                    </a:cubicBezTo>
                    <a:lnTo>
                      <a:pt x="25" y="593"/>
                    </a:lnTo>
                    <a:lnTo>
                      <a:pt x="25" y="62"/>
                    </a:lnTo>
                    <a:cubicBezTo>
                      <a:pt x="25" y="41"/>
                      <a:pt x="42" y="25"/>
                      <a:pt x="63" y="25"/>
                    </a:cubicBezTo>
                    <a:lnTo>
                      <a:pt x="754" y="25"/>
                    </a:lnTo>
                    <a:cubicBezTo>
                      <a:pt x="775" y="25"/>
                      <a:pt x="792" y="41"/>
                      <a:pt x="792" y="62"/>
                    </a:cubicBezTo>
                    <a:lnTo>
                      <a:pt x="792" y="593"/>
                    </a:lnTo>
                    <a:close/>
                    <a:moveTo>
                      <a:pt x="544" y="791"/>
                    </a:moveTo>
                    <a:lnTo>
                      <a:pt x="272" y="791"/>
                    </a:lnTo>
                    <a:lnTo>
                      <a:pt x="272" y="717"/>
                    </a:lnTo>
                    <a:lnTo>
                      <a:pt x="544" y="717"/>
                    </a:lnTo>
                    <a:lnTo>
                      <a:pt x="544" y="791"/>
                    </a:lnTo>
                    <a:close/>
                    <a:moveTo>
                      <a:pt x="754" y="0"/>
                    </a:moveTo>
                    <a:lnTo>
                      <a:pt x="63" y="0"/>
                    </a:lnTo>
                    <a:cubicBezTo>
                      <a:pt x="28" y="0"/>
                      <a:pt x="0" y="28"/>
                      <a:pt x="0" y="62"/>
                    </a:cubicBezTo>
                    <a:lnTo>
                      <a:pt x="0" y="656"/>
                    </a:lnTo>
                    <a:cubicBezTo>
                      <a:pt x="0" y="690"/>
                      <a:pt x="28" y="717"/>
                      <a:pt x="63" y="717"/>
                    </a:cubicBezTo>
                    <a:lnTo>
                      <a:pt x="248" y="717"/>
                    </a:lnTo>
                    <a:lnTo>
                      <a:pt x="248" y="791"/>
                    </a:lnTo>
                    <a:lnTo>
                      <a:pt x="161" y="791"/>
                    </a:lnTo>
                    <a:cubicBezTo>
                      <a:pt x="154" y="791"/>
                      <a:pt x="149" y="797"/>
                      <a:pt x="149" y="804"/>
                    </a:cubicBezTo>
                    <a:cubicBezTo>
                      <a:pt x="149" y="811"/>
                      <a:pt x="154" y="816"/>
                      <a:pt x="161" y="816"/>
                    </a:cubicBezTo>
                    <a:lnTo>
                      <a:pt x="656" y="816"/>
                    </a:lnTo>
                    <a:cubicBezTo>
                      <a:pt x="663" y="816"/>
                      <a:pt x="668" y="811"/>
                      <a:pt x="668" y="804"/>
                    </a:cubicBezTo>
                    <a:cubicBezTo>
                      <a:pt x="668" y="797"/>
                      <a:pt x="663" y="791"/>
                      <a:pt x="656" y="791"/>
                    </a:cubicBezTo>
                    <a:lnTo>
                      <a:pt x="569" y="791"/>
                    </a:lnTo>
                    <a:lnTo>
                      <a:pt x="569" y="717"/>
                    </a:lnTo>
                    <a:lnTo>
                      <a:pt x="754" y="717"/>
                    </a:lnTo>
                    <a:cubicBezTo>
                      <a:pt x="788" y="717"/>
                      <a:pt x="817" y="690"/>
                      <a:pt x="817" y="656"/>
                    </a:cubicBezTo>
                    <a:lnTo>
                      <a:pt x="817" y="62"/>
                    </a:lnTo>
                    <a:cubicBezTo>
                      <a:pt x="817" y="28"/>
                      <a:pt x="788" y="0"/>
                      <a:pt x="754" y="0"/>
                    </a:cubicBezTo>
                    <a:close/>
                  </a:path>
                </a:pathLst>
              </a:custGeom>
              <a:solidFill>
                <a:schemeClr val="bg1"/>
              </a:solidFill>
              <a:ln>
                <a:noFill/>
              </a:ln>
            </p:spPr>
            <p:txBody>
              <a:bodyPr wrap="none" anchor="ctr"/>
              <a:lstStyle/>
              <a:p>
                <a:pPr defTabSz="685571">
                  <a:defRPr/>
                </a:pPr>
                <a:endParaRPr lang="en-US" sz="1350" dirty="0">
                  <a:solidFill>
                    <a:srgbClr val="AAAAAA"/>
                  </a:solidFill>
                  <a:latin typeface="Roboto Light" panose="02000000000000000000" pitchFamily="2" charset="0"/>
                  <a:ea typeface="Roboto Light" panose="02000000000000000000" pitchFamily="2" charset="0"/>
                </a:endParaRPr>
              </a:p>
            </p:txBody>
          </p:sp>
          <p:sp>
            <p:nvSpPr>
              <p:cNvPr id="76" name="Freeform 929">
                <a:extLst>
                  <a:ext uri="{FF2B5EF4-FFF2-40B4-BE49-F238E27FC236}">
                    <a16:creationId xmlns:a16="http://schemas.microsoft.com/office/drawing/2014/main" id="{D610E496-0022-48B6-A970-19A7CC3B9CCF}"/>
                  </a:ext>
                </a:extLst>
              </p:cNvPr>
              <p:cNvSpPr>
                <a:spLocks noChangeAspect="1"/>
              </p:cNvSpPr>
              <p:nvPr/>
            </p:nvSpPr>
            <p:spPr bwMode="auto">
              <a:xfrm>
                <a:off x="3723291" y="2448774"/>
                <a:ext cx="368433" cy="367338"/>
              </a:xfrm>
              <a:custGeom>
                <a:avLst/>
                <a:gdLst>
                  <a:gd name="T0" fmla="*/ 7657895 w 293328"/>
                  <a:gd name="T1" fmla="*/ 9005345 h 293238"/>
                  <a:gd name="T2" fmla="*/ 4498868 w 293328"/>
                  <a:gd name="T3" fmla="*/ 9005345 h 293238"/>
                  <a:gd name="T4" fmla="*/ 3522037 w 293328"/>
                  <a:gd name="T5" fmla="*/ 8834279 h 293238"/>
                  <a:gd name="T6" fmla="*/ 1438230 w 293328"/>
                  <a:gd name="T7" fmla="*/ 9163206 h 293238"/>
                  <a:gd name="T8" fmla="*/ 8017115 w 293328"/>
                  <a:gd name="T9" fmla="*/ 7579894 h 293238"/>
                  <a:gd name="T10" fmla="*/ 9228325 w 293328"/>
                  <a:gd name="T11" fmla="*/ 7908834 h 293238"/>
                  <a:gd name="T12" fmla="*/ 8017115 w 293328"/>
                  <a:gd name="T13" fmla="*/ 7579894 h 293238"/>
                  <a:gd name="T14" fmla="*/ 7196298 w 293328"/>
                  <a:gd name="T15" fmla="*/ 7750944 h 293238"/>
                  <a:gd name="T16" fmla="*/ 5652355 w 293328"/>
                  <a:gd name="T17" fmla="*/ 7750944 h 293238"/>
                  <a:gd name="T18" fmla="*/ 4792152 w 293328"/>
                  <a:gd name="T19" fmla="*/ 7579894 h 293238"/>
                  <a:gd name="T20" fmla="*/ 3615792 w 293328"/>
                  <a:gd name="T21" fmla="*/ 7908834 h 293238"/>
                  <a:gd name="T22" fmla="*/ 1441954 w 293328"/>
                  <a:gd name="T23" fmla="*/ 7579894 h 293238"/>
                  <a:gd name="T24" fmla="*/ 2653087 w 293328"/>
                  <a:gd name="T25" fmla="*/ 7908834 h 293238"/>
                  <a:gd name="T26" fmla="*/ 1441954 w 293328"/>
                  <a:gd name="T27" fmla="*/ 7579894 h 293238"/>
                  <a:gd name="T28" fmla="*/ 7960461 w 293328"/>
                  <a:gd name="T29" fmla="*/ 5049788 h 293238"/>
                  <a:gd name="T30" fmla="*/ 8417216 w 293328"/>
                  <a:gd name="T31" fmla="*/ 6059062 h 293238"/>
                  <a:gd name="T32" fmla="*/ 8417216 w 293328"/>
                  <a:gd name="T33" fmla="*/ 4558084 h 293238"/>
                  <a:gd name="T34" fmla="*/ 7803923 w 293328"/>
                  <a:gd name="T35" fmla="*/ 6136728 h 293238"/>
                  <a:gd name="T36" fmla="*/ 6512036 w 293328"/>
                  <a:gd name="T37" fmla="*/ 6110840 h 293238"/>
                  <a:gd name="T38" fmla="*/ 7582022 w 293328"/>
                  <a:gd name="T39" fmla="*/ 5877936 h 293238"/>
                  <a:gd name="T40" fmla="*/ 7790812 w 293328"/>
                  <a:gd name="T41" fmla="*/ 4803898 h 293238"/>
                  <a:gd name="T42" fmla="*/ 1645443 w 293328"/>
                  <a:gd name="T43" fmla="*/ 4558084 h 293238"/>
                  <a:gd name="T44" fmla="*/ 2827025 w 293328"/>
                  <a:gd name="T45" fmla="*/ 4881567 h 293238"/>
                  <a:gd name="T46" fmla="*/ 1593537 w 293328"/>
                  <a:gd name="T47" fmla="*/ 6007352 h 293238"/>
                  <a:gd name="T48" fmla="*/ 3411399 w 293328"/>
                  <a:gd name="T49" fmla="*/ 6007352 h 293238"/>
                  <a:gd name="T50" fmla="*/ 3735991 w 293328"/>
                  <a:gd name="T51" fmla="*/ 5670900 h 293238"/>
                  <a:gd name="T52" fmla="*/ 1645443 w 293328"/>
                  <a:gd name="T53" fmla="*/ 6369652 h 293238"/>
                  <a:gd name="T54" fmla="*/ 1645443 w 293328"/>
                  <a:gd name="T55" fmla="*/ 4558084 h 293238"/>
                  <a:gd name="T56" fmla="*/ 326516 w 293328"/>
                  <a:gd name="T57" fmla="*/ 9731379 h 293238"/>
                  <a:gd name="T58" fmla="*/ 10330664 w 293328"/>
                  <a:gd name="T59" fmla="*/ 9731379 h 293238"/>
                  <a:gd name="T60" fmla="*/ 8019003 w 293328"/>
                  <a:gd name="T61" fmla="*/ 3715021 h 293238"/>
                  <a:gd name="T62" fmla="*/ 5224068 w 293328"/>
                  <a:gd name="T63" fmla="*/ 6671540 h 293238"/>
                  <a:gd name="T64" fmla="*/ 5328636 w 293328"/>
                  <a:gd name="T65" fmla="*/ 2017972 h 293238"/>
                  <a:gd name="T66" fmla="*/ 5119204 w 293328"/>
                  <a:gd name="T67" fmla="*/ 2950064 h 293238"/>
                  <a:gd name="T68" fmla="*/ 5538018 w 293328"/>
                  <a:gd name="T69" fmla="*/ 2950064 h 293238"/>
                  <a:gd name="T70" fmla="*/ 5328636 w 293328"/>
                  <a:gd name="T71" fmla="*/ 2017972 h 293238"/>
                  <a:gd name="T72" fmla="*/ 5878196 w 293328"/>
                  <a:gd name="T73" fmla="*/ 2975948 h 293238"/>
                  <a:gd name="T74" fmla="*/ 5930522 w 293328"/>
                  <a:gd name="T75" fmla="*/ 4374065 h 293238"/>
                  <a:gd name="T76" fmla="*/ 4569543 w 293328"/>
                  <a:gd name="T77" fmla="*/ 4179851 h 293238"/>
                  <a:gd name="T78" fmla="*/ 5328636 w 293328"/>
                  <a:gd name="T79" fmla="*/ 1707229 h 293238"/>
                  <a:gd name="T80" fmla="*/ 2912433 w 293328"/>
                  <a:gd name="T81" fmla="*/ 3353513 h 293238"/>
                  <a:gd name="T82" fmla="*/ 7757771 w 293328"/>
                  <a:gd name="T83" fmla="*/ 1120021 h 293238"/>
                  <a:gd name="T84" fmla="*/ 5380810 w 293328"/>
                  <a:gd name="T85" fmla="*/ 9598 h 293238"/>
                  <a:gd name="T86" fmla="*/ 8071270 w 293328"/>
                  <a:gd name="T87" fmla="*/ 3353513 h 293238"/>
                  <a:gd name="T88" fmla="*/ 10657173 w 293328"/>
                  <a:gd name="T89" fmla="*/ 4205648 h 293238"/>
                  <a:gd name="T90" fmla="*/ 809663 w 293328"/>
                  <a:gd name="T91" fmla="*/ 10531857 h 293238"/>
                  <a:gd name="T92" fmla="*/ 809663 w 293328"/>
                  <a:gd name="T93" fmla="*/ 3405144 h 293238"/>
                  <a:gd name="T94" fmla="*/ 2585917 w 293328"/>
                  <a:gd name="T95" fmla="*/ 1003808 h 293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3328" h="293238">
                    <a:moveTo>
                      <a:pt x="128173" y="245972"/>
                    </a:moveTo>
                    <a:lnTo>
                      <a:pt x="206065" y="245972"/>
                    </a:lnTo>
                    <a:cubicBezTo>
                      <a:pt x="208601" y="245972"/>
                      <a:pt x="210775" y="248170"/>
                      <a:pt x="210775" y="250735"/>
                    </a:cubicBezTo>
                    <a:cubicBezTo>
                      <a:pt x="210775" y="253299"/>
                      <a:pt x="208601" y="255131"/>
                      <a:pt x="206065" y="255131"/>
                    </a:cubicBezTo>
                    <a:lnTo>
                      <a:pt x="128173" y="255131"/>
                    </a:lnTo>
                    <a:cubicBezTo>
                      <a:pt x="125999" y="255131"/>
                      <a:pt x="123825" y="253299"/>
                      <a:pt x="123825" y="250735"/>
                    </a:cubicBezTo>
                    <a:cubicBezTo>
                      <a:pt x="123825" y="248170"/>
                      <a:pt x="125999" y="245972"/>
                      <a:pt x="128173" y="245972"/>
                    </a:cubicBezTo>
                    <a:close/>
                    <a:moveTo>
                      <a:pt x="39585" y="245972"/>
                    </a:moveTo>
                    <a:lnTo>
                      <a:pt x="96940" y="245972"/>
                    </a:lnTo>
                    <a:cubicBezTo>
                      <a:pt x="99449" y="245972"/>
                      <a:pt x="101241" y="248170"/>
                      <a:pt x="101241" y="250735"/>
                    </a:cubicBezTo>
                    <a:cubicBezTo>
                      <a:pt x="101241" y="253299"/>
                      <a:pt x="99449" y="255131"/>
                      <a:pt x="96940" y="255131"/>
                    </a:cubicBezTo>
                    <a:lnTo>
                      <a:pt x="39585" y="255131"/>
                    </a:lnTo>
                    <a:cubicBezTo>
                      <a:pt x="36717" y="255131"/>
                      <a:pt x="34925" y="253299"/>
                      <a:pt x="34925" y="250735"/>
                    </a:cubicBezTo>
                    <a:cubicBezTo>
                      <a:pt x="34925" y="248170"/>
                      <a:pt x="36717" y="245972"/>
                      <a:pt x="39585" y="245972"/>
                    </a:cubicBezTo>
                    <a:close/>
                    <a:moveTo>
                      <a:pt x="220663" y="211047"/>
                    </a:moveTo>
                    <a:lnTo>
                      <a:pt x="254000" y="211047"/>
                    </a:lnTo>
                    <a:cubicBezTo>
                      <a:pt x="256564" y="211047"/>
                      <a:pt x="258396" y="213245"/>
                      <a:pt x="258396" y="215810"/>
                    </a:cubicBezTo>
                    <a:cubicBezTo>
                      <a:pt x="258396" y="218374"/>
                      <a:pt x="256564" y="220206"/>
                      <a:pt x="254000" y="220206"/>
                    </a:cubicBezTo>
                    <a:lnTo>
                      <a:pt x="220663" y="220206"/>
                    </a:lnTo>
                    <a:cubicBezTo>
                      <a:pt x="218098" y="220206"/>
                      <a:pt x="215900" y="218374"/>
                      <a:pt x="215900" y="215810"/>
                    </a:cubicBezTo>
                    <a:cubicBezTo>
                      <a:pt x="215900" y="213245"/>
                      <a:pt x="218098" y="211047"/>
                      <a:pt x="220663" y="211047"/>
                    </a:cubicBezTo>
                    <a:close/>
                    <a:moveTo>
                      <a:pt x="159971" y="211047"/>
                    </a:moveTo>
                    <a:lnTo>
                      <a:pt x="193308" y="211047"/>
                    </a:lnTo>
                    <a:cubicBezTo>
                      <a:pt x="195873" y="211047"/>
                      <a:pt x="198071" y="213245"/>
                      <a:pt x="198071" y="215810"/>
                    </a:cubicBezTo>
                    <a:cubicBezTo>
                      <a:pt x="198071" y="218374"/>
                      <a:pt x="195873" y="220206"/>
                      <a:pt x="193308" y="220206"/>
                    </a:cubicBezTo>
                    <a:lnTo>
                      <a:pt x="159971" y="220206"/>
                    </a:lnTo>
                    <a:cubicBezTo>
                      <a:pt x="157407" y="220206"/>
                      <a:pt x="155575" y="218374"/>
                      <a:pt x="155575" y="215810"/>
                    </a:cubicBezTo>
                    <a:cubicBezTo>
                      <a:pt x="155575" y="213245"/>
                      <a:pt x="157407" y="211047"/>
                      <a:pt x="159971" y="211047"/>
                    </a:cubicBezTo>
                    <a:close/>
                    <a:moveTo>
                      <a:pt x="99520" y="211047"/>
                    </a:moveTo>
                    <a:lnTo>
                      <a:pt x="131899" y="211047"/>
                    </a:lnTo>
                    <a:cubicBezTo>
                      <a:pt x="134390" y="211047"/>
                      <a:pt x="136169" y="213245"/>
                      <a:pt x="136169" y="215810"/>
                    </a:cubicBezTo>
                    <a:cubicBezTo>
                      <a:pt x="136169" y="218374"/>
                      <a:pt x="134390" y="220206"/>
                      <a:pt x="131899" y="220206"/>
                    </a:cubicBezTo>
                    <a:lnTo>
                      <a:pt x="99520" y="220206"/>
                    </a:lnTo>
                    <a:cubicBezTo>
                      <a:pt x="97029" y="220206"/>
                      <a:pt x="95250" y="218374"/>
                      <a:pt x="95250" y="215810"/>
                    </a:cubicBezTo>
                    <a:cubicBezTo>
                      <a:pt x="95250" y="213245"/>
                      <a:pt x="97029" y="211047"/>
                      <a:pt x="99520" y="211047"/>
                    </a:cubicBezTo>
                    <a:close/>
                    <a:moveTo>
                      <a:pt x="39687" y="211047"/>
                    </a:moveTo>
                    <a:lnTo>
                      <a:pt x="73024" y="211047"/>
                    </a:lnTo>
                    <a:cubicBezTo>
                      <a:pt x="75589" y="211047"/>
                      <a:pt x="77421" y="213245"/>
                      <a:pt x="77421" y="215810"/>
                    </a:cubicBezTo>
                    <a:cubicBezTo>
                      <a:pt x="77421" y="218374"/>
                      <a:pt x="75589" y="220206"/>
                      <a:pt x="73024" y="220206"/>
                    </a:cubicBezTo>
                    <a:lnTo>
                      <a:pt x="39687" y="220206"/>
                    </a:lnTo>
                    <a:cubicBezTo>
                      <a:pt x="36757" y="220206"/>
                      <a:pt x="34925" y="218374"/>
                      <a:pt x="34925" y="215810"/>
                    </a:cubicBezTo>
                    <a:cubicBezTo>
                      <a:pt x="34925" y="213245"/>
                      <a:pt x="36757" y="211047"/>
                      <a:pt x="39687" y="211047"/>
                    </a:cubicBezTo>
                    <a:close/>
                    <a:moveTo>
                      <a:pt x="231675" y="135917"/>
                    </a:moveTo>
                    <a:cubicBezTo>
                      <a:pt x="227365" y="135917"/>
                      <a:pt x="222336" y="137358"/>
                      <a:pt x="219463" y="140241"/>
                    </a:cubicBezTo>
                    <a:cubicBezTo>
                      <a:pt x="219463" y="140241"/>
                      <a:pt x="219463" y="140601"/>
                      <a:pt x="219104" y="140601"/>
                    </a:cubicBezTo>
                    <a:cubicBezTo>
                      <a:pt x="223414" y="147807"/>
                      <a:pt x="223414" y="156453"/>
                      <a:pt x="219104" y="164019"/>
                    </a:cubicBezTo>
                    <a:cubicBezTo>
                      <a:pt x="219463" y="164019"/>
                      <a:pt x="219463" y="164019"/>
                      <a:pt x="219463" y="164019"/>
                    </a:cubicBezTo>
                    <a:cubicBezTo>
                      <a:pt x="222336" y="166902"/>
                      <a:pt x="227365" y="168703"/>
                      <a:pt x="231675" y="168703"/>
                    </a:cubicBezTo>
                    <a:cubicBezTo>
                      <a:pt x="240654" y="168703"/>
                      <a:pt x="247837" y="161137"/>
                      <a:pt x="247837" y="152490"/>
                    </a:cubicBezTo>
                    <a:cubicBezTo>
                      <a:pt x="247837" y="143123"/>
                      <a:pt x="240654" y="135917"/>
                      <a:pt x="231675" y="135917"/>
                    </a:cubicBezTo>
                    <a:close/>
                    <a:moveTo>
                      <a:pt x="231675" y="126910"/>
                    </a:moveTo>
                    <a:cubicBezTo>
                      <a:pt x="245682" y="126910"/>
                      <a:pt x="256816" y="138439"/>
                      <a:pt x="256816" y="152490"/>
                    </a:cubicBezTo>
                    <a:cubicBezTo>
                      <a:pt x="256816" y="166181"/>
                      <a:pt x="245682" y="177350"/>
                      <a:pt x="231675" y="177350"/>
                    </a:cubicBezTo>
                    <a:cubicBezTo>
                      <a:pt x="225569" y="177350"/>
                      <a:pt x="219104" y="174828"/>
                      <a:pt x="214794" y="170865"/>
                    </a:cubicBezTo>
                    <a:cubicBezTo>
                      <a:pt x="214435" y="170504"/>
                      <a:pt x="214435" y="170504"/>
                      <a:pt x="214435" y="170504"/>
                    </a:cubicBezTo>
                    <a:cubicBezTo>
                      <a:pt x="209766" y="175188"/>
                      <a:pt x="203301" y="177350"/>
                      <a:pt x="197195" y="177350"/>
                    </a:cubicBezTo>
                    <a:cubicBezTo>
                      <a:pt x="190730" y="177350"/>
                      <a:pt x="184265" y="174828"/>
                      <a:pt x="179237" y="170144"/>
                    </a:cubicBezTo>
                    <a:cubicBezTo>
                      <a:pt x="177800" y="168343"/>
                      <a:pt x="177800" y="165460"/>
                      <a:pt x="179237" y="163659"/>
                    </a:cubicBezTo>
                    <a:cubicBezTo>
                      <a:pt x="181033" y="162218"/>
                      <a:pt x="183906" y="162218"/>
                      <a:pt x="185702" y="163659"/>
                    </a:cubicBezTo>
                    <a:cubicBezTo>
                      <a:pt x="192167" y="170144"/>
                      <a:pt x="202582" y="170144"/>
                      <a:pt x="208688" y="163659"/>
                    </a:cubicBezTo>
                    <a:cubicBezTo>
                      <a:pt x="215153" y="157534"/>
                      <a:pt x="215153" y="147086"/>
                      <a:pt x="208688" y="140601"/>
                    </a:cubicBezTo>
                    <a:cubicBezTo>
                      <a:pt x="206892" y="138799"/>
                      <a:pt x="206892" y="135917"/>
                      <a:pt x="208688" y="134476"/>
                    </a:cubicBezTo>
                    <a:cubicBezTo>
                      <a:pt x="210125" y="133035"/>
                      <a:pt x="212639" y="132675"/>
                      <a:pt x="214435" y="133755"/>
                    </a:cubicBezTo>
                    <a:cubicBezTo>
                      <a:pt x="214435" y="133755"/>
                      <a:pt x="214435" y="133755"/>
                      <a:pt x="214794" y="133755"/>
                    </a:cubicBezTo>
                    <a:cubicBezTo>
                      <a:pt x="219104" y="129432"/>
                      <a:pt x="225569" y="126910"/>
                      <a:pt x="231675" y="126910"/>
                    </a:cubicBezTo>
                    <a:close/>
                    <a:moveTo>
                      <a:pt x="45289" y="126910"/>
                    </a:moveTo>
                    <a:lnTo>
                      <a:pt x="77812" y="126910"/>
                    </a:lnTo>
                    <a:cubicBezTo>
                      <a:pt x="80314" y="126910"/>
                      <a:pt x="82458" y="129072"/>
                      <a:pt x="82458" y="131233"/>
                    </a:cubicBezTo>
                    <a:cubicBezTo>
                      <a:pt x="82458" y="133755"/>
                      <a:pt x="80314" y="135917"/>
                      <a:pt x="77812" y="135917"/>
                    </a:cubicBezTo>
                    <a:lnTo>
                      <a:pt x="45289" y="135917"/>
                    </a:lnTo>
                    <a:cubicBezTo>
                      <a:pt x="44217" y="135917"/>
                      <a:pt x="43860" y="136638"/>
                      <a:pt x="43860" y="137358"/>
                    </a:cubicBezTo>
                    <a:lnTo>
                      <a:pt x="43860" y="167262"/>
                    </a:lnTo>
                    <a:cubicBezTo>
                      <a:pt x="43860" y="167622"/>
                      <a:pt x="44217" y="168703"/>
                      <a:pt x="45289" y="168703"/>
                    </a:cubicBezTo>
                    <a:lnTo>
                      <a:pt x="92465" y="168703"/>
                    </a:lnTo>
                    <a:cubicBezTo>
                      <a:pt x="93180" y="168703"/>
                      <a:pt x="93895" y="167622"/>
                      <a:pt x="93895" y="167262"/>
                    </a:cubicBezTo>
                    <a:lnTo>
                      <a:pt x="93895" y="157894"/>
                    </a:lnTo>
                    <a:cubicBezTo>
                      <a:pt x="93895" y="155372"/>
                      <a:pt x="95682" y="153211"/>
                      <a:pt x="98183" y="153211"/>
                    </a:cubicBezTo>
                    <a:cubicBezTo>
                      <a:pt x="100685" y="153211"/>
                      <a:pt x="102829" y="155372"/>
                      <a:pt x="102829" y="157894"/>
                    </a:cubicBezTo>
                    <a:lnTo>
                      <a:pt x="102829" y="167262"/>
                    </a:lnTo>
                    <a:cubicBezTo>
                      <a:pt x="102829" y="173026"/>
                      <a:pt x="98183" y="177350"/>
                      <a:pt x="92465" y="177350"/>
                    </a:cubicBezTo>
                    <a:lnTo>
                      <a:pt x="45289" y="177350"/>
                    </a:lnTo>
                    <a:cubicBezTo>
                      <a:pt x="39571" y="177350"/>
                      <a:pt x="34925" y="173026"/>
                      <a:pt x="34925" y="167262"/>
                    </a:cubicBezTo>
                    <a:lnTo>
                      <a:pt x="34925" y="137358"/>
                    </a:lnTo>
                    <a:cubicBezTo>
                      <a:pt x="34925" y="131594"/>
                      <a:pt x="39571" y="126910"/>
                      <a:pt x="45289" y="126910"/>
                    </a:cubicBezTo>
                    <a:close/>
                    <a:moveTo>
                      <a:pt x="22287" y="103437"/>
                    </a:moveTo>
                    <a:cubicBezTo>
                      <a:pt x="15098" y="103437"/>
                      <a:pt x="8987" y="109548"/>
                      <a:pt x="8987" y="117097"/>
                    </a:cubicBezTo>
                    <a:lnTo>
                      <a:pt x="8987" y="270950"/>
                    </a:lnTo>
                    <a:cubicBezTo>
                      <a:pt x="8987" y="278499"/>
                      <a:pt x="15098" y="284251"/>
                      <a:pt x="22287" y="284251"/>
                    </a:cubicBezTo>
                    <a:lnTo>
                      <a:pt x="271041" y="284251"/>
                    </a:lnTo>
                    <a:cubicBezTo>
                      <a:pt x="278230" y="284251"/>
                      <a:pt x="284341" y="278499"/>
                      <a:pt x="284341" y="270950"/>
                    </a:cubicBezTo>
                    <a:lnTo>
                      <a:pt x="284341" y="117097"/>
                    </a:lnTo>
                    <a:cubicBezTo>
                      <a:pt x="284341" y="109548"/>
                      <a:pt x="278230" y="103437"/>
                      <a:pt x="271041" y="103437"/>
                    </a:cubicBezTo>
                    <a:lnTo>
                      <a:pt x="220715" y="103437"/>
                    </a:lnTo>
                    <a:cubicBezTo>
                      <a:pt x="210290" y="139744"/>
                      <a:pt x="152056" y="183599"/>
                      <a:pt x="149180" y="185756"/>
                    </a:cubicBezTo>
                    <a:cubicBezTo>
                      <a:pt x="148461" y="186475"/>
                      <a:pt x="147383" y="186475"/>
                      <a:pt x="146664" y="186475"/>
                    </a:cubicBezTo>
                    <a:cubicBezTo>
                      <a:pt x="145585" y="186475"/>
                      <a:pt x="144867" y="186475"/>
                      <a:pt x="143788" y="185756"/>
                    </a:cubicBezTo>
                    <a:cubicBezTo>
                      <a:pt x="141272" y="183599"/>
                      <a:pt x="83037" y="139744"/>
                      <a:pt x="72972" y="103437"/>
                    </a:cubicBezTo>
                    <a:lnTo>
                      <a:pt x="22287" y="103437"/>
                    </a:lnTo>
                    <a:close/>
                    <a:moveTo>
                      <a:pt x="146664" y="56186"/>
                    </a:moveTo>
                    <a:cubicBezTo>
                      <a:pt x="139820" y="56186"/>
                      <a:pt x="134417" y="61953"/>
                      <a:pt x="134417" y="68441"/>
                    </a:cubicBezTo>
                    <a:cubicBezTo>
                      <a:pt x="134417" y="72045"/>
                      <a:pt x="136218" y="75650"/>
                      <a:pt x="139460" y="77812"/>
                    </a:cubicBezTo>
                    <a:cubicBezTo>
                      <a:pt x="140540" y="78894"/>
                      <a:pt x="141261" y="80335"/>
                      <a:pt x="140900" y="82138"/>
                    </a:cubicBezTo>
                    <a:lnTo>
                      <a:pt x="135498" y="112776"/>
                    </a:lnTo>
                    <a:lnTo>
                      <a:pt x="157830" y="112776"/>
                    </a:lnTo>
                    <a:lnTo>
                      <a:pt x="152427" y="82138"/>
                    </a:lnTo>
                    <a:cubicBezTo>
                      <a:pt x="152066" y="80335"/>
                      <a:pt x="152787" y="78894"/>
                      <a:pt x="154228" y="77812"/>
                    </a:cubicBezTo>
                    <a:cubicBezTo>
                      <a:pt x="157109" y="75650"/>
                      <a:pt x="158550" y="72045"/>
                      <a:pt x="158550" y="68441"/>
                    </a:cubicBezTo>
                    <a:cubicBezTo>
                      <a:pt x="158550" y="61953"/>
                      <a:pt x="153507" y="56186"/>
                      <a:pt x="146664" y="56186"/>
                    </a:cubicBezTo>
                    <a:close/>
                    <a:moveTo>
                      <a:pt x="146664" y="47535"/>
                    </a:moveTo>
                    <a:cubicBezTo>
                      <a:pt x="158190" y="47535"/>
                      <a:pt x="167915" y="56907"/>
                      <a:pt x="167915" y="68441"/>
                    </a:cubicBezTo>
                    <a:cubicBezTo>
                      <a:pt x="167915" y="73847"/>
                      <a:pt x="165394" y="79254"/>
                      <a:pt x="161792" y="82859"/>
                    </a:cubicBezTo>
                    <a:lnTo>
                      <a:pt x="167555" y="116380"/>
                    </a:lnTo>
                    <a:cubicBezTo>
                      <a:pt x="167915" y="117822"/>
                      <a:pt x="167555" y="119264"/>
                      <a:pt x="166834" y="120345"/>
                    </a:cubicBezTo>
                    <a:cubicBezTo>
                      <a:pt x="165754" y="121066"/>
                      <a:pt x="164673" y="121787"/>
                      <a:pt x="163232" y="121787"/>
                    </a:cubicBezTo>
                    <a:lnTo>
                      <a:pt x="130095" y="121787"/>
                    </a:lnTo>
                    <a:cubicBezTo>
                      <a:pt x="128654" y="121787"/>
                      <a:pt x="127573" y="121066"/>
                      <a:pt x="126493" y="120345"/>
                    </a:cubicBezTo>
                    <a:cubicBezTo>
                      <a:pt x="125772" y="119264"/>
                      <a:pt x="125412" y="117822"/>
                      <a:pt x="125772" y="116380"/>
                    </a:cubicBezTo>
                    <a:lnTo>
                      <a:pt x="131535" y="82859"/>
                    </a:lnTo>
                    <a:cubicBezTo>
                      <a:pt x="127933" y="79254"/>
                      <a:pt x="125412" y="73847"/>
                      <a:pt x="125412" y="68441"/>
                    </a:cubicBezTo>
                    <a:cubicBezTo>
                      <a:pt x="125412" y="56907"/>
                      <a:pt x="135137" y="47535"/>
                      <a:pt x="146664" y="47535"/>
                    </a:cubicBezTo>
                    <a:close/>
                    <a:moveTo>
                      <a:pt x="146664" y="8897"/>
                    </a:moveTo>
                    <a:lnTo>
                      <a:pt x="80162" y="31184"/>
                    </a:lnTo>
                    <a:lnTo>
                      <a:pt x="80162" y="93372"/>
                    </a:lnTo>
                    <a:cubicBezTo>
                      <a:pt x="80162" y="122849"/>
                      <a:pt x="134082" y="166704"/>
                      <a:pt x="146664" y="176410"/>
                    </a:cubicBezTo>
                    <a:cubicBezTo>
                      <a:pt x="159245" y="166704"/>
                      <a:pt x="213525" y="122849"/>
                      <a:pt x="213525" y="93372"/>
                    </a:cubicBezTo>
                    <a:lnTo>
                      <a:pt x="213525" y="31184"/>
                    </a:lnTo>
                    <a:lnTo>
                      <a:pt x="146664" y="8897"/>
                    </a:lnTo>
                    <a:close/>
                    <a:moveTo>
                      <a:pt x="145226" y="269"/>
                    </a:moveTo>
                    <a:cubicBezTo>
                      <a:pt x="146304" y="-90"/>
                      <a:pt x="147023" y="-90"/>
                      <a:pt x="148102" y="269"/>
                    </a:cubicBezTo>
                    <a:lnTo>
                      <a:pt x="219277" y="23635"/>
                    </a:lnTo>
                    <a:cubicBezTo>
                      <a:pt x="221074" y="24354"/>
                      <a:pt x="222153" y="26151"/>
                      <a:pt x="222153" y="27949"/>
                    </a:cubicBezTo>
                    <a:lnTo>
                      <a:pt x="222153" y="93372"/>
                    </a:lnTo>
                    <a:cubicBezTo>
                      <a:pt x="222153" y="93732"/>
                      <a:pt x="222153" y="94451"/>
                      <a:pt x="222153" y="94810"/>
                    </a:cubicBezTo>
                    <a:lnTo>
                      <a:pt x="271041" y="94810"/>
                    </a:lnTo>
                    <a:cubicBezTo>
                      <a:pt x="283263" y="94810"/>
                      <a:pt x="293328" y="104875"/>
                      <a:pt x="293328" y="117097"/>
                    </a:cubicBezTo>
                    <a:lnTo>
                      <a:pt x="293328" y="270950"/>
                    </a:lnTo>
                    <a:cubicBezTo>
                      <a:pt x="293328" y="283172"/>
                      <a:pt x="283263" y="293238"/>
                      <a:pt x="271041" y="293238"/>
                    </a:cubicBezTo>
                    <a:lnTo>
                      <a:pt x="22287" y="293238"/>
                    </a:lnTo>
                    <a:cubicBezTo>
                      <a:pt x="10065" y="293238"/>
                      <a:pt x="0" y="283172"/>
                      <a:pt x="0" y="270950"/>
                    </a:cubicBezTo>
                    <a:lnTo>
                      <a:pt x="0" y="117097"/>
                    </a:lnTo>
                    <a:cubicBezTo>
                      <a:pt x="0" y="104875"/>
                      <a:pt x="10065" y="94810"/>
                      <a:pt x="22287" y="94810"/>
                    </a:cubicBezTo>
                    <a:lnTo>
                      <a:pt x="71175" y="94810"/>
                    </a:lnTo>
                    <a:cubicBezTo>
                      <a:pt x="71175" y="94451"/>
                      <a:pt x="71175" y="93732"/>
                      <a:pt x="71175" y="93372"/>
                    </a:cubicBezTo>
                    <a:lnTo>
                      <a:pt x="71175" y="27949"/>
                    </a:lnTo>
                    <a:cubicBezTo>
                      <a:pt x="71175" y="26151"/>
                      <a:pt x="72253" y="24354"/>
                      <a:pt x="74051" y="23635"/>
                    </a:cubicBezTo>
                    <a:lnTo>
                      <a:pt x="145226" y="269"/>
                    </a:lnTo>
                    <a:close/>
                  </a:path>
                </a:pathLst>
              </a:custGeom>
              <a:solidFill>
                <a:schemeClr val="bg1"/>
              </a:solidFill>
              <a:ln>
                <a:noFill/>
              </a:ln>
            </p:spPr>
            <p:txBody>
              <a:bodyPr anchor="ctr"/>
              <a:lstStyle/>
              <a:p>
                <a:pPr defTabSz="685571">
                  <a:defRPr/>
                </a:pPr>
                <a:endParaRPr lang="en-US" sz="1350" dirty="0">
                  <a:solidFill>
                    <a:srgbClr val="AAAAAA"/>
                  </a:solidFill>
                  <a:latin typeface="Roboto Light" panose="02000000000000000000" pitchFamily="2" charset="0"/>
                  <a:ea typeface="Roboto Light" panose="02000000000000000000" pitchFamily="2" charset="0"/>
                </a:endParaRPr>
              </a:p>
            </p:txBody>
          </p:sp>
          <p:sp>
            <p:nvSpPr>
              <p:cNvPr id="77" name="Freeform 930">
                <a:extLst>
                  <a:ext uri="{FF2B5EF4-FFF2-40B4-BE49-F238E27FC236}">
                    <a16:creationId xmlns:a16="http://schemas.microsoft.com/office/drawing/2014/main" id="{F1A3F629-4EC3-42C0-ABB4-F8C45646B6D8}"/>
                  </a:ext>
                </a:extLst>
              </p:cNvPr>
              <p:cNvSpPr>
                <a:spLocks noChangeAspect="1"/>
              </p:cNvSpPr>
              <p:nvPr/>
            </p:nvSpPr>
            <p:spPr bwMode="auto">
              <a:xfrm>
                <a:off x="3723291" y="4838776"/>
                <a:ext cx="368433" cy="367338"/>
              </a:xfrm>
              <a:custGeom>
                <a:avLst/>
                <a:gdLst>
                  <a:gd name="T0" fmla="*/ 7104784 w 293328"/>
                  <a:gd name="T1" fmla="*/ 10177891 h 293328"/>
                  <a:gd name="T2" fmla="*/ 326516 w 293328"/>
                  <a:gd name="T3" fmla="*/ 7951914 h 293328"/>
                  <a:gd name="T4" fmla="*/ 10069471 w 293328"/>
                  <a:gd name="T5" fmla="*/ 8904011 h 293328"/>
                  <a:gd name="T6" fmla="*/ 326516 w 293328"/>
                  <a:gd name="T7" fmla="*/ 7951914 h 293328"/>
                  <a:gd name="T8" fmla="*/ 4888705 w 293328"/>
                  <a:gd name="T9" fmla="*/ 5676068 h 293328"/>
                  <a:gd name="T10" fmla="*/ 4597991 w 293328"/>
                  <a:gd name="T11" fmla="*/ 5789671 h 293328"/>
                  <a:gd name="T12" fmla="*/ 8039178 w 293328"/>
                  <a:gd name="T13" fmla="*/ 5378087 h 293328"/>
                  <a:gd name="T14" fmla="*/ 9004515 w 293328"/>
                  <a:gd name="T15" fmla="*/ 5852847 h 293328"/>
                  <a:gd name="T16" fmla="*/ 2064670 w 293328"/>
                  <a:gd name="T17" fmla="*/ 5378087 h 293328"/>
                  <a:gd name="T18" fmla="*/ 2547239 w 293328"/>
                  <a:gd name="T19" fmla="*/ 6327624 h 293328"/>
                  <a:gd name="T20" fmla="*/ 4722522 w 293328"/>
                  <a:gd name="T21" fmla="*/ 4659601 h 293328"/>
                  <a:gd name="T22" fmla="*/ 4556452 w 293328"/>
                  <a:gd name="T23" fmla="*/ 4823209 h 293328"/>
                  <a:gd name="T24" fmla="*/ 4888705 w 293328"/>
                  <a:gd name="T25" fmla="*/ 2992715 h 293328"/>
                  <a:gd name="T26" fmla="*/ 4556452 w 293328"/>
                  <a:gd name="T27" fmla="*/ 3927136 h 293328"/>
                  <a:gd name="T28" fmla="*/ 3691248 w 293328"/>
                  <a:gd name="T29" fmla="*/ 2841184 h 293328"/>
                  <a:gd name="T30" fmla="*/ 3691248 w 293328"/>
                  <a:gd name="T31" fmla="*/ 5840051 h 293328"/>
                  <a:gd name="T32" fmla="*/ 3691248 w 293328"/>
                  <a:gd name="T33" fmla="*/ 2841184 h 293328"/>
                  <a:gd name="T34" fmla="*/ 7713072 w 293328"/>
                  <a:gd name="T35" fmla="*/ 6327624 h 293328"/>
                  <a:gd name="T36" fmla="*/ 6956461 w 293328"/>
                  <a:gd name="T37" fmla="*/ 2195982 h 293328"/>
                  <a:gd name="T38" fmla="*/ 6630338 w 293328"/>
                  <a:gd name="T39" fmla="*/ 6327624 h 293328"/>
                  <a:gd name="T40" fmla="*/ 3134321 w 293328"/>
                  <a:gd name="T41" fmla="*/ 2195982 h 293328"/>
                  <a:gd name="T42" fmla="*/ 5560680 w 293328"/>
                  <a:gd name="T43" fmla="*/ 6327624 h 293328"/>
                  <a:gd name="T44" fmla="*/ 3134321 w 293328"/>
                  <a:gd name="T45" fmla="*/ 1875183 h 293328"/>
                  <a:gd name="T46" fmla="*/ 7439125 w 293328"/>
                  <a:gd name="T47" fmla="*/ 1875183 h 293328"/>
                  <a:gd name="T48" fmla="*/ 8521815 w 293328"/>
                  <a:gd name="T49" fmla="*/ 5044534 h 293328"/>
                  <a:gd name="T50" fmla="*/ 2064670 w 293328"/>
                  <a:gd name="T51" fmla="*/ 6635571 h 293328"/>
                  <a:gd name="T52" fmla="*/ 2547239 w 293328"/>
                  <a:gd name="T53" fmla="*/ 5044534 h 293328"/>
                  <a:gd name="T54" fmla="*/ 9500562 w 293328"/>
                  <a:gd name="T55" fmla="*/ 858675 h 293328"/>
                  <a:gd name="T56" fmla="*/ 9749714 w 293328"/>
                  <a:gd name="T57" fmla="*/ 1073371 h 293328"/>
                  <a:gd name="T58" fmla="*/ 9459040 w 293328"/>
                  <a:gd name="T59" fmla="*/ 959690 h 293328"/>
                  <a:gd name="T60" fmla="*/ 8019401 w 293328"/>
                  <a:gd name="T61" fmla="*/ 858675 h 293328"/>
                  <a:gd name="T62" fmla="*/ 7894845 w 293328"/>
                  <a:gd name="T63" fmla="*/ 1123864 h 293328"/>
                  <a:gd name="T64" fmla="*/ 7784103 w 293328"/>
                  <a:gd name="T65" fmla="*/ 858675 h 293328"/>
                  <a:gd name="T66" fmla="*/ 8753584 w 293328"/>
                  <a:gd name="T67" fmla="*/ 1180159 h 293328"/>
                  <a:gd name="T68" fmla="*/ 600684 w 293328"/>
                  <a:gd name="T69" fmla="*/ 321688 h 293328"/>
                  <a:gd name="T70" fmla="*/ 10330664 w 293328"/>
                  <a:gd name="T71" fmla="*/ 7630233 h 293328"/>
                  <a:gd name="T72" fmla="*/ 600684 w 293328"/>
                  <a:gd name="T73" fmla="*/ 321688 h 293328"/>
                  <a:gd name="T74" fmla="*/ 10657173 w 293328"/>
                  <a:gd name="T75" fmla="*/ 579033 h 293328"/>
                  <a:gd name="T76" fmla="*/ 7431255 w 293328"/>
                  <a:gd name="T77" fmla="*/ 9225699 h 293328"/>
                  <a:gd name="T78" fmla="*/ 8724256 w 293328"/>
                  <a:gd name="T79" fmla="*/ 10345169 h 293328"/>
                  <a:gd name="T80" fmla="*/ 1946019 w 293328"/>
                  <a:gd name="T81" fmla="*/ 10345169 h 293328"/>
                  <a:gd name="T82" fmla="*/ 3238904 w 293328"/>
                  <a:gd name="T83" fmla="*/ 9225699 h 293328"/>
                  <a:gd name="T84" fmla="*/ 0 w 293328"/>
                  <a:gd name="T85" fmla="*/ 579033 h 29332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3328" h="293328">
                    <a:moveTo>
                      <a:pt x="97776" y="257740"/>
                    </a:moveTo>
                    <a:lnTo>
                      <a:pt x="97776" y="284341"/>
                    </a:lnTo>
                    <a:lnTo>
                      <a:pt x="195552" y="284341"/>
                    </a:lnTo>
                    <a:lnTo>
                      <a:pt x="195552" y="257740"/>
                    </a:lnTo>
                    <a:lnTo>
                      <a:pt x="97776" y="257740"/>
                    </a:lnTo>
                    <a:close/>
                    <a:moveTo>
                      <a:pt x="8987" y="222153"/>
                    </a:moveTo>
                    <a:lnTo>
                      <a:pt x="8987" y="241564"/>
                    </a:lnTo>
                    <a:cubicBezTo>
                      <a:pt x="8987" y="245518"/>
                      <a:pt x="12222" y="248753"/>
                      <a:pt x="16535" y="248753"/>
                    </a:cubicBezTo>
                    <a:lnTo>
                      <a:pt x="277152" y="248753"/>
                    </a:lnTo>
                    <a:cubicBezTo>
                      <a:pt x="281106" y="248753"/>
                      <a:pt x="284341" y="245518"/>
                      <a:pt x="284341" y="241564"/>
                    </a:cubicBezTo>
                    <a:lnTo>
                      <a:pt x="284341" y="222153"/>
                    </a:lnTo>
                    <a:lnTo>
                      <a:pt x="8987" y="222153"/>
                    </a:lnTo>
                    <a:close/>
                    <a:moveTo>
                      <a:pt x="126555" y="155398"/>
                    </a:moveTo>
                    <a:cubicBezTo>
                      <a:pt x="128460" y="153987"/>
                      <a:pt x="131508" y="153987"/>
                      <a:pt x="133413" y="155398"/>
                    </a:cubicBezTo>
                    <a:cubicBezTo>
                      <a:pt x="134175" y="156457"/>
                      <a:pt x="134556" y="157515"/>
                      <a:pt x="134556" y="158573"/>
                    </a:cubicBezTo>
                    <a:cubicBezTo>
                      <a:pt x="134556" y="159632"/>
                      <a:pt x="134175" y="160690"/>
                      <a:pt x="133413" y="161395"/>
                    </a:cubicBezTo>
                    <a:cubicBezTo>
                      <a:pt x="132270" y="162454"/>
                      <a:pt x="131508" y="163159"/>
                      <a:pt x="129984" y="163159"/>
                    </a:cubicBezTo>
                    <a:cubicBezTo>
                      <a:pt x="128841" y="163159"/>
                      <a:pt x="127698" y="162454"/>
                      <a:pt x="126555" y="161748"/>
                    </a:cubicBezTo>
                    <a:cubicBezTo>
                      <a:pt x="126174" y="160690"/>
                      <a:pt x="125412" y="159632"/>
                      <a:pt x="125412" y="158573"/>
                    </a:cubicBezTo>
                    <a:cubicBezTo>
                      <a:pt x="125412" y="157515"/>
                      <a:pt x="125793" y="156457"/>
                      <a:pt x="126555" y="155398"/>
                    </a:cubicBezTo>
                    <a:close/>
                    <a:moveTo>
                      <a:pt x="221270" y="150249"/>
                    </a:moveTo>
                    <a:lnTo>
                      <a:pt x="221270" y="176775"/>
                    </a:lnTo>
                    <a:lnTo>
                      <a:pt x="234555" y="176775"/>
                    </a:lnTo>
                    <a:cubicBezTo>
                      <a:pt x="241736" y="176775"/>
                      <a:pt x="247840" y="170681"/>
                      <a:pt x="247840" y="163512"/>
                    </a:cubicBezTo>
                    <a:cubicBezTo>
                      <a:pt x="247840" y="155984"/>
                      <a:pt x="241736" y="150249"/>
                      <a:pt x="234555" y="150249"/>
                    </a:cubicBezTo>
                    <a:lnTo>
                      <a:pt x="221270" y="150249"/>
                    </a:lnTo>
                    <a:close/>
                    <a:moveTo>
                      <a:pt x="56827" y="150249"/>
                    </a:moveTo>
                    <a:cubicBezTo>
                      <a:pt x="49646" y="150249"/>
                      <a:pt x="43542" y="155984"/>
                      <a:pt x="43542" y="163512"/>
                    </a:cubicBezTo>
                    <a:cubicBezTo>
                      <a:pt x="43542" y="170681"/>
                      <a:pt x="49646" y="176775"/>
                      <a:pt x="56827" y="176775"/>
                    </a:cubicBezTo>
                    <a:lnTo>
                      <a:pt x="70111" y="176775"/>
                    </a:lnTo>
                    <a:lnTo>
                      <a:pt x="70111" y="150249"/>
                    </a:lnTo>
                    <a:lnTo>
                      <a:pt x="56827" y="150249"/>
                    </a:lnTo>
                    <a:close/>
                    <a:moveTo>
                      <a:pt x="129984" y="130175"/>
                    </a:moveTo>
                    <a:cubicBezTo>
                      <a:pt x="132651" y="130175"/>
                      <a:pt x="134556" y="132461"/>
                      <a:pt x="134556" y="134747"/>
                    </a:cubicBezTo>
                    <a:cubicBezTo>
                      <a:pt x="134556" y="137414"/>
                      <a:pt x="132651" y="139319"/>
                      <a:pt x="129984" y="139319"/>
                    </a:cubicBezTo>
                    <a:cubicBezTo>
                      <a:pt x="127698" y="139319"/>
                      <a:pt x="125412" y="137414"/>
                      <a:pt x="125412" y="134747"/>
                    </a:cubicBezTo>
                    <a:cubicBezTo>
                      <a:pt x="125412" y="132461"/>
                      <a:pt x="127698" y="130175"/>
                      <a:pt x="129984" y="130175"/>
                    </a:cubicBezTo>
                    <a:close/>
                    <a:moveTo>
                      <a:pt x="129984" y="79375"/>
                    </a:moveTo>
                    <a:cubicBezTo>
                      <a:pt x="132651" y="79375"/>
                      <a:pt x="134556" y="81492"/>
                      <a:pt x="134556" y="83608"/>
                    </a:cubicBezTo>
                    <a:lnTo>
                      <a:pt x="134556" y="109714"/>
                    </a:lnTo>
                    <a:cubicBezTo>
                      <a:pt x="134556" y="111831"/>
                      <a:pt x="132651" y="113947"/>
                      <a:pt x="129984" y="113947"/>
                    </a:cubicBezTo>
                    <a:cubicBezTo>
                      <a:pt x="127698" y="113947"/>
                      <a:pt x="125412" y="111831"/>
                      <a:pt x="125412" y="109714"/>
                    </a:cubicBezTo>
                    <a:lnTo>
                      <a:pt x="125412" y="83608"/>
                    </a:lnTo>
                    <a:cubicBezTo>
                      <a:pt x="125412" y="81492"/>
                      <a:pt x="127698" y="79375"/>
                      <a:pt x="129984" y="79375"/>
                    </a:cubicBezTo>
                    <a:close/>
                    <a:moveTo>
                      <a:pt x="101599" y="79375"/>
                    </a:moveTo>
                    <a:cubicBezTo>
                      <a:pt x="104164" y="79375"/>
                      <a:pt x="105996" y="81523"/>
                      <a:pt x="105996" y="83671"/>
                    </a:cubicBezTo>
                    <a:lnTo>
                      <a:pt x="105996" y="158500"/>
                    </a:lnTo>
                    <a:cubicBezTo>
                      <a:pt x="105996" y="161006"/>
                      <a:pt x="104164" y="163154"/>
                      <a:pt x="101599" y="163154"/>
                    </a:cubicBezTo>
                    <a:cubicBezTo>
                      <a:pt x="98669" y="163154"/>
                      <a:pt x="96837" y="161006"/>
                      <a:pt x="96837" y="158500"/>
                    </a:cubicBezTo>
                    <a:lnTo>
                      <a:pt x="96837" y="83671"/>
                    </a:lnTo>
                    <a:cubicBezTo>
                      <a:pt x="96837" y="81523"/>
                      <a:pt x="98669" y="79375"/>
                      <a:pt x="101599" y="79375"/>
                    </a:cubicBezTo>
                    <a:close/>
                    <a:moveTo>
                      <a:pt x="191469" y="61349"/>
                    </a:moveTo>
                    <a:lnTo>
                      <a:pt x="191469" y="176775"/>
                    </a:lnTo>
                    <a:lnTo>
                      <a:pt x="212294" y="176775"/>
                    </a:lnTo>
                    <a:lnTo>
                      <a:pt x="212294" y="68877"/>
                    </a:lnTo>
                    <a:cubicBezTo>
                      <a:pt x="212294" y="64575"/>
                      <a:pt x="209063" y="61349"/>
                      <a:pt x="204754" y="61349"/>
                    </a:cubicBezTo>
                    <a:lnTo>
                      <a:pt x="191469" y="61349"/>
                    </a:lnTo>
                    <a:close/>
                    <a:moveTo>
                      <a:pt x="162027" y="61349"/>
                    </a:moveTo>
                    <a:lnTo>
                      <a:pt x="162027" y="176775"/>
                    </a:lnTo>
                    <a:lnTo>
                      <a:pt x="182493" y="176775"/>
                    </a:lnTo>
                    <a:lnTo>
                      <a:pt x="182493" y="61349"/>
                    </a:lnTo>
                    <a:lnTo>
                      <a:pt x="162027" y="61349"/>
                    </a:lnTo>
                    <a:close/>
                    <a:moveTo>
                      <a:pt x="86269" y="61349"/>
                    </a:moveTo>
                    <a:cubicBezTo>
                      <a:pt x="82319" y="61349"/>
                      <a:pt x="79088" y="64575"/>
                      <a:pt x="79088" y="68877"/>
                    </a:cubicBezTo>
                    <a:lnTo>
                      <a:pt x="79088" y="176775"/>
                    </a:lnTo>
                    <a:lnTo>
                      <a:pt x="153051" y="176775"/>
                    </a:lnTo>
                    <a:lnTo>
                      <a:pt x="153051" y="61349"/>
                    </a:lnTo>
                    <a:lnTo>
                      <a:pt x="86269" y="61349"/>
                    </a:lnTo>
                    <a:close/>
                    <a:moveTo>
                      <a:pt x="86269" y="52387"/>
                    </a:moveTo>
                    <a:lnTo>
                      <a:pt x="157360" y="52387"/>
                    </a:lnTo>
                    <a:lnTo>
                      <a:pt x="187161" y="52387"/>
                    </a:lnTo>
                    <a:lnTo>
                      <a:pt x="204754" y="52387"/>
                    </a:lnTo>
                    <a:cubicBezTo>
                      <a:pt x="213730" y="52387"/>
                      <a:pt x="221270" y="59915"/>
                      <a:pt x="221270" y="68877"/>
                    </a:cubicBezTo>
                    <a:lnTo>
                      <a:pt x="221270" y="140929"/>
                    </a:lnTo>
                    <a:lnTo>
                      <a:pt x="234555" y="140929"/>
                    </a:lnTo>
                    <a:cubicBezTo>
                      <a:pt x="246763" y="140929"/>
                      <a:pt x="256816" y="151324"/>
                      <a:pt x="256816" y="163512"/>
                    </a:cubicBezTo>
                    <a:cubicBezTo>
                      <a:pt x="256816" y="175700"/>
                      <a:pt x="246763" y="185379"/>
                      <a:pt x="234555" y="185379"/>
                    </a:cubicBezTo>
                    <a:lnTo>
                      <a:pt x="56827" y="185379"/>
                    </a:lnTo>
                    <a:cubicBezTo>
                      <a:pt x="44619" y="185379"/>
                      <a:pt x="34925" y="175700"/>
                      <a:pt x="34925" y="163512"/>
                    </a:cubicBezTo>
                    <a:cubicBezTo>
                      <a:pt x="34925" y="151324"/>
                      <a:pt x="44619" y="140929"/>
                      <a:pt x="56827" y="140929"/>
                    </a:cubicBezTo>
                    <a:lnTo>
                      <a:pt x="70111" y="140929"/>
                    </a:lnTo>
                    <a:lnTo>
                      <a:pt x="70111" y="68877"/>
                    </a:lnTo>
                    <a:cubicBezTo>
                      <a:pt x="70111" y="59915"/>
                      <a:pt x="77651" y="52387"/>
                      <a:pt x="86269" y="52387"/>
                    </a:cubicBezTo>
                    <a:close/>
                    <a:moveTo>
                      <a:pt x="261493" y="23989"/>
                    </a:moveTo>
                    <a:cubicBezTo>
                      <a:pt x="263398" y="22225"/>
                      <a:pt x="266446" y="22225"/>
                      <a:pt x="268351" y="23989"/>
                    </a:cubicBezTo>
                    <a:cubicBezTo>
                      <a:pt x="269113" y="24694"/>
                      <a:pt x="269494" y="25753"/>
                      <a:pt x="269494" y="26811"/>
                    </a:cubicBezTo>
                    <a:cubicBezTo>
                      <a:pt x="269494" y="28222"/>
                      <a:pt x="269113" y="29281"/>
                      <a:pt x="268351" y="29986"/>
                    </a:cubicBezTo>
                    <a:cubicBezTo>
                      <a:pt x="267208" y="31044"/>
                      <a:pt x="266065" y="31397"/>
                      <a:pt x="264922" y="31397"/>
                    </a:cubicBezTo>
                    <a:cubicBezTo>
                      <a:pt x="263398" y="31397"/>
                      <a:pt x="262255" y="31044"/>
                      <a:pt x="261493" y="29986"/>
                    </a:cubicBezTo>
                    <a:cubicBezTo>
                      <a:pt x="260731" y="29281"/>
                      <a:pt x="260350" y="28222"/>
                      <a:pt x="260350" y="26811"/>
                    </a:cubicBezTo>
                    <a:cubicBezTo>
                      <a:pt x="260350" y="25753"/>
                      <a:pt x="260731" y="24694"/>
                      <a:pt x="261493" y="23989"/>
                    </a:cubicBezTo>
                    <a:close/>
                    <a:moveTo>
                      <a:pt x="214249" y="23989"/>
                    </a:moveTo>
                    <a:cubicBezTo>
                      <a:pt x="215773" y="22225"/>
                      <a:pt x="218821" y="22225"/>
                      <a:pt x="220726" y="23989"/>
                    </a:cubicBezTo>
                    <a:cubicBezTo>
                      <a:pt x="221488" y="24694"/>
                      <a:pt x="221869" y="25753"/>
                      <a:pt x="221869" y="26811"/>
                    </a:cubicBezTo>
                    <a:cubicBezTo>
                      <a:pt x="221869" y="28222"/>
                      <a:pt x="221488" y="29281"/>
                      <a:pt x="220726" y="29986"/>
                    </a:cubicBezTo>
                    <a:cubicBezTo>
                      <a:pt x="219583" y="31044"/>
                      <a:pt x="218440" y="31397"/>
                      <a:pt x="217297" y="31397"/>
                    </a:cubicBezTo>
                    <a:cubicBezTo>
                      <a:pt x="216154" y="31397"/>
                      <a:pt x="214630" y="31044"/>
                      <a:pt x="214249" y="29986"/>
                    </a:cubicBezTo>
                    <a:cubicBezTo>
                      <a:pt x="213106" y="29281"/>
                      <a:pt x="212725" y="28222"/>
                      <a:pt x="212725" y="26811"/>
                    </a:cubicBezTo>
                    <a:cubicBezTo>
                      <a:pt x="212725" y="25753"/>
                      <a:pt x="213106" y="24694"/>
                      <a:pt x="214249" y="23989"/>
                    </a:cubicBezTo>
                    <a:close/>
                    <a:moveTo>
                      <a:pt x="240933" y="23812"/>
                    </a:moveTo>
                    <a:cubicBezTo>
                      <a:pt x="243497" y="23812"/>
                      <a:pt x="245696" y="26010"/>
                      <a:pt x="245696" y="28208"/>
                    </a:cubicBezTo>
                    <a:cubicBezTo>
                      <a:pt x="245696" y="30773"/>
                      <a:pt x="243497" y="32971"/>
                      <a:pt x="240933" y="32971"/>
                    </a:cubicBezTo>
                    <a:cubicBezTo>
                      <a:pt x="238369" y="32971"/>
                      <a:pt x="236537" y="30773"/>
                      <a:pt x="236537" y="28208"/>
                    </a:cubicBezTo>
                    <a:cubicBezTo>
                      <a:pt x="236537" y="26010"/>
                      <a:pt x="238369" y="23812"/>
                      <a:pt x="240933" y="23812"/>
                    </a:cubicBezTo>
                    <a:close/>
                    <a:moveTo>
                      <a:pt x="16535" y="8987"/>
                    </a:moveTo>
                    <a:cubicBezTo>
                      <a:pt x="12222" y="8987"/>
                      <a:pt x="8987" y="12222"/>
                      <a:pt x="8987" y="16176"/>
                    </a:cubicBezTo>
                    <a:lnTo>
                      <a:pt x="8987" y="213166"/>
                    </a:lnTo>
                    <a:lnTo>
                      <a:pt x="284341" y="213166"/>
                    </a:lnTo>
                    <a:lnTo>
                      <a:pt x="284341" y="16176"/>
                    </a:lnTo>
                    <a:cubicBezTo>
                      <a:pt x="284341" y="12222"/>
                      <a:pt x="281106" y="8987"/>
                      <a:pt x="277152" y="8987"/>
                    </a:cubicBezTo>
                    <a:lnTo>
                      <a:pt x="16535" y="8987"/>
                    </a:lnTo>
                    <a:close/>
                    <a:moveTo>
                      <a:pt x="16535" y="0"/>
                    </a:moveTo>
                    <a:lnTo>
                      <a:pt x="277152" y="0"/>
                    </a:lnTo>
                    <a:cubicBezTo>
                      <a:pt x="286138" y="0"/>
                      <a:pt x="293328" y="7189"/>
                      <a:pt x="293328" y="16176"/>
                    </a:cubicBezTo>
                    <a:lnTo>
                      <a:pt x="293328" y="241564"/>
                    </a:lnTo>
                    <a:cubicBezTo>
                      <a:pt x="293328" y="250551"/>
                      <a:pt x="286138" y="257740"/>
                      <a:pt x="277152" y="257740"/>
                    </a:cubicBezTo>
                    <a:lnTo>
                      <a:pt x="204538" y="257740"/>
                    </a:lnTo>
                    <a:lnTo>
                      <a:pt x="204538" y="284341"/>
                    </a:lnTo>
                    <a:lnTo>
                      <a:pt x="235812" y="284341"/>
                    </a:lnTo>
                    <a:cubicBezTo>
                      <a:pt x="237969" y="284341"/>
                      <a:pt x="240126" y="286498"/>
                      <a:pt x="240126" y="289014"/>
                    </a:cubicBezTo>
                    <a:cubicBezTo>
                      <a:pt x="240126" y="291530"/>
                      <a:pt x="237969" y="293328"/>
                      <a:pt x="235812" y="293328"/>
                    </a:cubicBezTo>
                    <a:lnTo>
                      <a:pt x="57875" y="293328"/>
                    </a:lnTo>
                    <a:cubicBezTo>
                      <a:pt x="55358" y="293328"/>
                      <a:pt x="53561" y="291530"/>
                      <a:pt x="53561" y="289014"/>
                    </a:cubicBezTo>
                    <a:cubicBezTo>
                      <a:pt x="53561" y="286498"/>
                      <a:pt x="55358" y="284341"/>
                      <a:pt x="57875" y="284341"/>
                    </a:cubicBezTo>
                    <a:lnTo>
                      <a:pt x="89148" y="284341"/>
                    </a:lnTo>
                    <a:lnTo>
                      <a:pt x="89148" y="257740"/>
                    </a:lnTo>
                    <a:lnTo>
                      <a:pt x="16535" y="257740"/>
                    </a:lnTo>
                    <a:cubicBezTo>
                      <a:pt x="7549" y="257740"/>
                      <a:pt x="0" y="250551"/>
                      <a:pt x="0" y="241564"/>
                    </a:cubicBezTo>
                    <a:lnTo>
                      <a:pt x="0" y="16176"/>
                    </a:lnTo>
                    <a:cubicBezTo>
                      <a:pt x="0" y="7189"/>
                      <a:pt x="7549" y="0"/>
                      <a:pt x="16535" y="0"/>
                    </a:cubicBezTo>
                    <a:close/>
                  </a:path>
                </a:pathLst>
              </a:custGeom>
              <a:solidFill>
                <a:schemeClr val="bg1"/>
              </a:solidFill>
              <a:ln>
                <a:noFill/>
              </a:ln>
            </p:spPr>
            <p:txBody>
              <a:bodyPr anchor="ctr"/>
              <a:lstStyle/>
              <a:p>
                <a:pPr defTabSz="685571">
                  <a:defRPr/>
                </a:pPr>
                <a:endParaRPr lang="en-US" sz="1350" dirty="0">
                  <a:solidFill>
                    <a:srgbClr val="AAAAAA"/>
                  </a:solidFill>
                  <a:latin typeface="Roboto Light" panose="02000000000000000000" pitchFamily="2" charset="0"/>
                  <a:ea typeface="Roboto Light" panose="02000000000000000000" pitchFamily="2" charset="0"/>
                </a:endParaRPr>
              </a:p>
            </p:txBody>
          </p:sp>
          <p:sp>
            <p:nvSpPr>
              <p:cNvPr id="78" name="Freeform 931">
                <a:extLst>
                  <a:ext uri="{FF2B5EF4-FFF2-40B4-BE49-F238E27FC236}">
                    <a16:creationId xmlns:a16="http://schemas.microsoft.com/office/drawing/2014/main" id="{555811D8-5985-44C2-A5F3-E7B32EA05248}"/>
                  </a:ext>
                </a:extLst>
              </p:cNvPr>
              <p:cNvSpPr>
                <a:spLocks noChangeAspect="1"/>
              </p:cNvSpPr>
              <p:nvPr/>
            </p:nvSpPr>
            <p:spPr bwMode="auto">
              <a:xfrm>
                <a:off x="2812991" y="5675775"/>
                <a:ext cx="368433" cy="367338"/>
              </a:xfrm>
              <a:custGeom>
                <a:avLst/>
                <a:gdLst>
                  <a:gd name="T0" fmla="*/ 7859658 w 293328"/>
                  <a:gd name="T1" fmla="*/ 8127578 h 293326"/>
                  <a:gd name="T2" fmla="*/ 4110621 w 293328"/>
                  <a:gd name="T3" fmla="*/ 7487107 h 293326"/>
                  <a:gd name="T4" fmla="*/ 4442221 w 293328"/>
                  <a:gd name="T5" fmla="*/ 7813878 h 293326"/>
                  <a:gd name="T6" fmla="*/ 8522949 w 293328"/>
                  <a:gd name="T7" fmla="*/ 7813878 h 293326"/>
                  <a:gd name="T8" fmla="*/ 7859658 w 293328"/>
                  <a:gd name="T9" fmla="*/ 7160373 h 293326"/>
                  <a:gd name="T10" fmla="*/ 4110621 w 293328"/>
                  <a:gd name="T11" fmla="*/ 8454348 h 293326"/>
                  <a:gd name="T12" fmla="*/ 5991851 w 293328"/>
                  <a:gd name="T13" fmla="*/ 6478409 h 293326"/>
                  <a:gd name="T14" fmla="*/ 6624621 w 293328"/>
                  <a:gd name="T15" fmla="*/ 7123578 h 293326"/>
                  <a:gd name="T16" fmla="*/ 5991851 w 293328"/>
                  <a:gd name="T17" fmla="*/ 7046188 h 293326"/>
                  <a:gd name="T18" fmla="*/ 6677367 w 293328"/>
                  <a:gd name="T19" fmla="*/ 8259035 h 293326"/>
                  <a:gd name="T20" fmla="*/ 5991851 w 293328"/>
                  <a:gd name="T21" fmla="*/ 9136437 h 293326"/>
                  <a:gd name="T22" fmla="*/ 5358978 w 293328"/>
                  <a:gd name="T23" fmla="*/ 8491269 h 293326"/>
                  <a:gd name="T24" fmla="*/ 5991851 w 293328"/>
                  <a:gd name="T25" fmla="*/ 8555819 h 293326"/>
                  <a:gd name="T26" fmla="*/ 5306272 w 293328"/>
                  <a:gd name="T27" fmla="*/ 7342911 h 293326"/>
                  <a:gd name="T28" fmla="*/ 5991851 w 293328"/>
                  <a:gd name="T29" fmla="*/ 6478409 h 293326"/>
                  <a:gd name="T30" fmla="*/ 2563300 w 293328"/>
                  <a:gd name="T31" fmla="*/ 8592102 h 293326"/>
                  <a:gd name="T32" fmla="*/ 9362842 w 293328"/>
                  <a:gd name="T33" fmla="*/ 8592102 h 293326"/>
                  <a:gd name="T34" fmla="*/ 3190900 w 293328"/>
                  <a:gd name="T35" fmla="*/ 6346447 h 293326"/>
                  <a:gd name="T36" fmla="*/ 9035975 w 293328"/>
                  <a:gd name="T37" fmla="*/ 6178653 h 293326"/>
                  <a:gd name="T38" fmla="*/ 9676671 w 293328"/>
                  <a:gd name="T39" fmla="*/ 8734099 h 293326"/>
                  <a:gd name="T40" fmla="*/ 8879035 w 293328"/>
                  <a:gd name="T41" fmla="*/ 9534286 h 293326"/>
                  <a:gd name="T42" fmla="*/ 2406263 w 293328"/>
                  <a:gd name="T43" fmla="*/ 8888979 h 293326"/>
                  <a:gd name="T44" fmla="*/ 2406263 w 293328"/>
                  <a:gd name="T45" fmla="*/ 6656187 h 293326"/>
                  <a:gd name="T46" fmla="*/ 1596249 w 293328"/>
                  <a:gd name="T47" fmla="*/ 5393866 h 293326"/>
                  <a:gd name="T48" fmla="*/ 10342888 w 293328"/>
                  <a:gd name="T49" fmla="*/ 5393866 h 293326"/>
                  <a:gd name="T50" fmla="*/ 10500047 w 293328"/>
                  <a:gd name="T51" fmla="*/ 5057672 h 293326"/>
                  <a:gd name="T52" fmla="*/ 10500047 w 293328"/>
                  <a:gd name="T53" fmla="*/ 10500283 h 293326"/>
                  <a:gd name="T54" fmla="*/ 1268902 w 293328"/>
                  <a:gd name="T55" fmla="*/ 5225783 h 293326"/>
                  <a:gd name="T56" fmla="*/ 6335547 w 293328"/>
                  <a:gd name="T57" fmla="*/ 4148488 h 293326"/>
                  <a:gd name="T58" fmla="*/ 3904986 w 293328"/>
                  <a:gd name="T59" fmla="*/ 4476308 h 293326"/>
                  <a:gd name="T60" fmla="*/ 1194807 w 293328"/>
                  <a:gd name="T61" fmla="*/ 4148488 h 293326"/>
                  <a:gd name="T62" fmla="*/ 2944820 w 293328"/>
                  <a:gd name="T63" fmla="*/ 4476308 h 293326"/>
                  <a:gd name="T64" fmla="*/ 1194807 w 293328"/>
                  <a:gd name="T65" fmla="*/ 4148488 h 293326"/>
                  <a:gd name="T66" fmla="*/ 7427260 w 293328"/>
                  <a:gd name="T67" fmla="*/ 3396588 h 293326"/>
                  <a:gd name="T68" fmla="*/ 6171464 w 293328"/>
                  <a:gd name="T69" fmla="*/ 3396588 h 293326"/>
                  <a:gd name="T70" fmla="*/ 5539982 w 293328"/>
                  <a:gd name="T71" fmla="*/ 3239199 h 293326"/>
                  <a:gd name="T72" fmla="*/ 4611211 w 293328"/>
                  <a:gd name="T73" fmla="*/ 3567085 h 293326"/>
                  <a:gd name="T74" fmla="*/ 2925452 w 293328"/>
                  <a:gd name="T75" fmla="*/ 3239199 h 293326"/>
                  <a:gd name="T76" fmla="*/ 3854194 w 293328"/>
                  <a:gd name="T77" fmla="*/ 3567085 h 293326"/>
                  <a:gd name="T78" fmla="*/ 2925452 w 293328"/>
                  <a:gd name="T79" fmla="*/ 3239199 h 293326"/>
                  <a:gd name="T80" fmla="*/ 2293890 w 293328"/>
                  <a:gd name="T81" fmla="*/ 3396588 h 293326"/>
                  <a:gd name="T82" fmla="*/ 1038174 w 293328"/>
                  <a:gd name="T83" fmla="*/ 3396588 h 293326"/>
                  <a:gd name="T84" fmla="*/ 6475814 w 293328"/>
                  <a:gd name="T85" fmla="*/ 1452999 h 293326"/>
                  <a:gd name="T86" fmla="*/ 6736524 w 293328"/>
                  <a:gd name="T87" fmla="*/ 2104707 h 293326"/>
                  <a:gd name="T88" fmla="*/ 5837123 w 293328"/>
                  <a:gd name="T89" fmla="*/ 1348718 h 293326"/>
                  <a:gd name="T90" fmla="*/ 6215092 w 293328"/>
                  <a:gd name="T91" fmla="*/ 1726732 h 293326"/>
                  <a:gd name="T92" fmla="*/ 1365399 w 293328"/>
                  <a:gd name="T93" fmla="*/ 1400867 h 293326"/>
                  <a:gd name="T94" fmla="*/ 2491089 w 293328"/>
                  <a:gd name="T95" fmla="*/ 2104707 h 293326"/>
                  <a:gd name="T96" fmla="*/ 2491089 w 293328"/>
                  <a:gd name="T97" fmla="*/ 1348718 h 293326"/>
                  <a:gd name="T98" fmla="*/ 6280294 w 293328"/>
                  <a:gd name="T99" fmla="*/ 1192301 h 293326"/>
                  <a:gd name="T100" fmla="*/ 6736524 w 293328"/>
                  <a:gd name="T101" fmla="*/ 2430592 h 293326"/>
                  <a:gd name="T102" fmla="*/ 5133300 w 293328"/>
                  <a:gd name="T103" fmla="*/ 1726732 h 293326"/>
                  <a:gd name="T104" fmla="*/ 2491089 w 293328"/>
                  <a:gd name="T105" fmla="*/ 1022852 h 293326"/>
                  <a:gd name="T106" fmla="*/ 2491089 w 293328"/>
                  <a:gd name="T107" fmla="*/ 2430592 h 293326"/>
                  <a:gd name="T108" fmla="*/ 1038174 w 293328"/>
                  <a:gd name="T109" fmla="*/ 1400867 h 293326"/>
                  <a:gd name="T110" fmla="*/ 7920889 w 293328"/>
                  <a:gd name="T111" fmla="*/ 0 h 293326"/>
                  <a:gd name="T112" fmla="*/ 8352914 w 293328"/>
                  <a:gd name="T113" fmla="*/ 4760749 h 293326"/>
                  <a:gd name="T114" fmla="*/ 7920889 w 293328"/>
                  <a:gd name="T115" fmla="*/ 320804 h 293326"/>
                  <a:gd name="T116" fmla="*/ 314256 w 293328"/>
                  <a:gd name="T117" fmla="*/ 5761657 h 293326"/>
                  <a:gd name="T118" fmla="*/ 955691 w 293328"/>
                  <a:gd name="T119" fmla="*/ 6185102 h 293326"/>
                  <a:gd name="T120" fmla="*/ 0 w 293328"/>
                  <a:gd name="T121" fmla="*/ 5761657 h 2933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93328" h="293326">
                    <a:moveTo>
                      <a:pt x="216329" y="209153"/>
                    </a:moveTo>
                    <a:cubicBezTo>
                      <a:pt x="211582" y="209153"/>
                      <a:pt x="207566" y="213169"/>
                      <a:pt x="207566" y="218281"/>
                    </a:cubicBezTo>
                    <a:cubicBezTo>
                      <a:pt x="207566" y="223028"/>
                      <a:pt x="211582" y="227044"/>
                      <a:pt x="216329" y="227044"/>
                    </a:cubicBezTo>
                    <a:cubicBezTo>
                      <a:pt x="221441" y="227044"/>
                      <a:pt x="225457" y="223028"/>
                      <a:pt x="225457" y="218281"/>
                    </a:cubicBezTo>
                    <a:cubicBezTo>
                      <a:pt x="225457" y="213169"/>
                      <a:pt x="221441" y="209153"/>
                      <a:pt x="216329" y="209153"/>
                    </a:cubicBezTo>
                    <a:close/>
                    <a:moveTo>
                      <a:pt x="113141" y="209153"/>
                    </a:moveTo>
                    <a:cubicBezTo>
                      <a:pt x="108395" y="209153"/>
                      <a:pt x="104013" y="213169"/>
                      <a:pt x="104013" y="218281"/>
                    </a:cubicBezTo>
                    <a:cubicBezTo>
                      <a:pt x="104013" y="223028"/>
                      <a:pt x="108395" y="227044"/>
                      <a:pt x="113141" y="227044"/>
                    </a:cubicBezTo>
                    <a:cubicBezTo>
                      <a:pt x="118253" y="227044"/>
                      <a:pt x="122269" y="223028"/>
                      <a:pt x="122269" y="218281"/>
                    </a:cubicBezTo>
                    <a:cubicBezTo>
                      <a:pt x="122269" y="213169"/>
                      <a:pt x="118253" y="209153"/>
                      <a:pt x="113141" y="209153"/>
                    </a:cubicBezTo>
                    <a:close/>
                    <a:moveTo>
                      <a:pt x="216329" y="200025"/>
                    </a:moveTo>
                    <a:cubicBezTo>
                      <a:pt x="226552" y="200025"/>
                      <a:pt x="234585" y="208423"/>
                      <a:pt x="234585" y="218281"/>
                    </a:cubicBezTo>
                    <a:cubicBezTo>
                      <a:pt x="234585" y="228139"/>
                      <a:pt x="226552" y="236172"/>
                      <a:pt x="216329" y="236172"/>
                    </a:cubicBezTo>
                    <a:cubicBezTo>
                      <a:pt x="206836" y="236172"/>
                      <a:pt x="198438" y="228139"/>
                      <a:pt x="198438" y="218281"/>
                    </a:cubicBezTo>
                    <a:cubicBezTo>
                      <a:pt x="198438" y="208423"/>
                      <a:pt x="206836" y="200025"/>
                      <a:pt x="216329" y="200025"/>
                    </a:cubicBezTo>
                    <a:close/>
                    <a:moveTo>
                      <a:pt x="113141" y="200025"/>
                    </a:moveTo>
                    <a:cubicBezTo>
                      <a:pt x="123000" y="200025"/>
                      <a:pt x="131398" y="208423"/>
                      <a:pt x="131398" y="218281"/>
                    </a:cubicBezTo>
                    <a:cubicBezTo>
                      <a:pt x="131398" y="228139"/>
                      <a:pt x="123000" y="236172"/>
                      <a:pt x="113141" y="236172"/>
                    </a:cubicBezTo>
                    <a:cubicBezTo>
                      <a:pt x="103283" y="236172"/>
                      <a:pt x="95250" y="228139"/>
                      <a:pt x="95250" y="218281"/>
                    </a:cubicBezTo>
                    <a:cubicBezTo>
                      <a:pt x="95250" y="208423"/>
                      <a:pt x="103283" y="200025"/>
                      <a:pt x="113141" y="200025"/>
                    </a:cubicBezTo>
                    <a:close/>
                    <a:moveTo>
                      <a:pt x="164919" y="180975"/>
                    </a:moveTo>
                    <a:cubicBezTo>
                      <a:pt x="167096" y="180975"/>
                      <a:pt x="169273" y="182777"/>
                      <a:pt x="169273" y="185300"/>
                    </a:cubicBezTo>
                    <a:lnTo>
                      <a:pt x="169273" y="188544"/>
                    </a:lnTo>
                    <a:cubicBezTo>
                      <a:pt x="175079" y="189986"/>
                      <a:pt x="180159" y="193591"/>
                      <a:pt x="182336" y="198997"/>
                    </a:cubicBezTo>
                    <a:cubicBezTo>
                      <a:pt x="183062" y="201160"/>
                      <a:pt x="182336" y="203683"/>
                      <a:pt x="179796" y="204764"/>
                    </a:cubicBezTo>
                    <a:cubicBezTo>
                      <a:pt x="177256" y="205846"/>
                      <a:pt x="175079" y="204764"/>
                      <a:pt x="173990" y="202241"/>
                    </a:cubicBezTo>
                    <a:cubicBezTo>
                      <a:pt x="172539" y="198997"/>
                      <a:pt x="168910" y="196835"/>
                      <a:pt x="164919" y="196835"/>
                    </a:cubicBezTo>
                    <a:cubicBezTo>
                      <a:pt x="159476" y="196835"/>
                      <a:pt x="155122" y="200800"/>
                      <a:pt x="155122" y="205125"/>
                    </a:cubicBezTo>
                    <a:cubicBezTo>
                      <a:pt x="155122" y="210892"/>
                      <a:pt x="158387" y="213415"/>
                      <a:pt x="164919" y="213415"/>
                    </a:cubicBezTo>
                    <a:cubicBezTo>
                      <a:pt x="176167" y="213415"/>
                      <a:pt x="183787" y="220264"/>
                      <a:pt x="183787" y="230716"/>
                    </a:cubicBezTo>
                    <a:cubicBezTo>
                      <a:pt x="183787" y="239007"/>
                      <a:pt x="177256" y="245495"/>
                      <a:pt x="169273" y="247657"/>
                    </a:cubicBezTo>
                    <a:lnTo>
                      <a:pt x="169273" y="250901"/>
                    </a:lnTo>
                    <a:cubicBezTo>
                      <a:pt x="169273" y="253064"/>
                      <a:pt x="167096" y="255227"/>
                      <a:pt x="164919" y="255227"/>
                    </a:cubicBezTo>
                    <a:cubicBezTo>
                      <a:pt x="162379" y="255227"/>
                      <a:pt x="160564" y="253064"/>
                      <a:pt x="160564" y="250901"/>
                    </a:cubicBezTo>
                    <a:lnTo>
                      <a:pt x="160564" y="247657"/>
                    </a:lnTo>
                    <a:cubicBezTo>
                      <a:pt x="154759" y="246216"/>
                      <a:pt x="149679" y="242611"/>
                      <a:pt x="147502" y="237204"/>
                    </a:cubicBezTo>
                    <a:cubicBezTo>
                      <a:pt x="146413" y="235042"/>
                      <a:pt x="147502" y="232519"/>
                      <a:pt x="150042" y="231437"/>
                    </a:cubicBezTo>
                    <a:cubicBezTo>
                      <a:pt x="152219" y="230356"/>
                      <a:pt x="154759" y="231437"/>
                      <a:pt x="155847" y="233600"/>
                    </a:cubicBezTo>
                    <a:cubicBezTo>
                      <a:pt x="157299" y="237204"/>
                      <a:pt x="160927" y="239007"/>
                      <a:pt x="164919" y="239007"/>
                    </a:cubicBezTo>
                    <a:cubicBezTo>
                      <a:pt x="170362" y="239007"/>
                      <a:pt x="174716" y="235402"/>
                      <a:pt x="174716" y="230716"/>
                    </a:cubicBezTo>
                    <a:cubicBezTo>
                      <a:pt x="174716" y="225310"/>
                      <a:pt x="171450" y="222426"/>
                      <a:pt x="164919" y="222426"/>
                    </a:cubicBezTo>
                    <a:cubicBezTo>
                      <a:pt x="151130" y="222426"/>
                      <a:pt x="146050" y="213415"/>
                      <a:pt x="146050" y="205125"/>
                    </a:cubicBezTo>
                    <a:cubicBezTo>
                      <a:pt x="146050" y="197195"/>
                      <a:pt x="152219" y="190347"/>
                      <a:pt x="160564" y="188544"/>
                    </a:cubicBezTo>
                    <a:lnTo>
                      <a:pt x="160564" y="185300"/>
                    </a:lnTo>
                    <a:cubicBezTo>
                      <a:pt x="160564" y="182777"/>
                      <a:pt x="162379" y="180975"/>
                      <a:pt x="164919" y="180975"/>
                    </a:cubicBezTo>
                    <a:close/>
                    <a:moveTo>
                      <a:pt x="87826" y="177288"/>
                    </a:moveTo>
                    <a:cubicBezTo>
                      <a:pt x="86387" y="185941"/>
                      <a:pt x="79548" y="192791"/>
                      <a:pt x="70551" y="194594"/>
                    </a:cubicBezTo>
                    <a:lnTo>
                      <a:pt x="70551" y="240021"/>
                    </a:lnTo>
                    <a:cubicBezTo>
                      <a:pt x="79548" y="241823"/>
                      <a:pt x="86387" y="248674"/>
                      <a:pt x="87826" y="257326"/>
                    </a:cubicBezTo>
                    <a:lnTo>
                      <a:pt x="240067" y="257326"/>
                    </a:lnTo>
                    <a:cubicBezTo>
                      <a:pt x="241867" y="248674"/>
                      <a:pt x="248705" y="241823"/>
                      <a:pt x="257702" y="240021"/>
                    </a:cubicBezTo>
                    <a:lnTo>
                      <a:pt x="257702" y="194594"/>
                    </a:lnTo>
                    <a:cubicBezTo>
                      <a:pt x="248705" y="192791"/>
                      <a:pt x="241867" y="185941"/>
                      <a:pt x="240067" y="177288"/>
                    </a:cubicBezTo>
                    <a:lnTo>
                      <a:pt x="87826" y="177288"/>
                    </a:lnTo>
                    <a:close/>
                    <a:moveTo>
                      <a:pt x="83867" y="168275"/>
                    </a:moveTo>
                    <a:lnTo>
                      <a:pt x="244386" y="168275"/>
                    </a:lnTo>
                    <a:cubicBezTo>
                      <a:pt x="246545" y="168275"/>
                      <a:pt x="248705" y="170078"/>
                      <a:pt x="248705" y="172601"/>
                    </a:cubicBezTo>
                    <a:cubicBezTo>
                      <a:pt x="248705" y="180172"/>
                      <a:pt x="254463" y="185941"/>
                      <a:pt x="262021" y="185941"/>
                    </a:cubicBezTo>
                    <a:cubicBezTo>
                      <a:pt x="264541" y="185941"/>
                      <a:pt x="266340" y="188104"/>
                      <a:pt x="266340" y="190628"/>
                    </a:cubicBezTo>
                    <a:lnTo>
                      <a:pt x="266340" y="243987"/>
                    </a:lnTo>
                    <a:cubicBezTo>
                      <a:pt x="266340" y="246510"/>
                      <a:pt x="264541" y="248313"/>
                      <a:pt x="262021" y="248313"/>
                    </a:cubicBezTo>
                    <a:cubicBezTo>
                      <a:pt x="254463" y="248313"/>
                      <a:pt x="248705" y="254442"/>
                      <a:pt x="248705" y="262013"/>
                    </a:cubicBezTo>
                    <a:cubicBezTo>
                      <a:pt x="248705" y="264176"/>
                      <a:pt x="246545" y="266340"/>
                      <a:pt x="244386" y="266340"/>
                    </a:cubicBezTo>
                    <a:lnTo>
                      <a:pt x="83867" y="266340"/>
                    </a:lnTo>
                    <a:cubicBezTo>
                      <a:pt x="81348" y="266340"/>
                      <a:pt x="79548" y="264176"/>
                      <a:pt x="79548" y="262013"/>
                    </a:cubicBezTo>
                    <a:cubicBezTo>
                      <a:pt x="79548" y="254442"/>
                      <a:pt x="73790" y="248313"/>
                      <a:pt x="66232" y="248313"/>
                    </a:cubicBezTo>
                    <a:cubicBezTo>
                      <a:pt x="63712" y="248313"/>
                      <a:pt x="61913" y="246510"/>
                      <a:pt x="61913" y="243987"/>
                    </a:cubicBezTo>
                    <a:lnTo>
                      <a:pt x="61913" y="190628"/>
                    </a:lnTo>
                    <a:cubicBezTo>
                      <a:pt x="61913" y="188104"/>
                      <a:pt x="63712" y="185941"/>
                      <a:pt x="66232" y="185941"/>
                    </a:cubicBezTo>
                    <a:cubicBezTo>
                      <a:pt x="73790" y="185941"/>
                      <a:pt x="79548" y="180172"/>
                      <a:pt x="79548" y="172601"/>
                    </a:cubicBezTo>
                    <a:cubicBezTo>
                      <a:pt x="79548" y="170078"/>
                      <a:pt x="81348" y="168275"/>
                      <a:pt x="83867" y="168275"/>
                    </a:cubicBezTo>
                    <a:close/>
                    <a:moveTo>
                      <a:pt x="43935" y="150677"/>
                    </a:moveTo>
                    <a:lnTo>
                      <a:pt x="43935" y="284297"/>
                    </a:lnTo>
                    <a:lnTo>
                      <a:pt x="284678" y="284297"/>
                    </a:lnTo>
                    <a:lnTo>
                      <a:pt x="284678" y="150677"/>
                    </a:lnTo>
                    <a:lnTo>
                      <a:pt x="43935" y="150677"/>
                    </a:lnTo>
                    <a:close/>
                    <a:moveTo>
                      <a:pt x="39610" y="141287"/>
                    </a:moveTo>
                    <a:lnTo>
                      <a:pt x="289003" y="141287"/>
                    </a:lnTo>
                    <a:cubicBezTo>
                      <a:pt x="291526" y="141287"/>
                      <a:pt x="293328" y="143454"/>
                      <a:pt x="293328" y="145982"/>
                    </a:cubicBezTo>
                    <a:lnTo>
                      <a:pt x="293328" y="288992"/>
                    </a:lnTo>
                    <a:cubicBezTo>
                      <a:pt x="293328" y="291520"/>
                      <a:pt x="291526" y="293326"/>
                      <a:pt x="289003" y="293326"/>
                    </a:cubicBezTo>
                    <a:lnTo>
                      <a:pt x="39610" y="293326"/>
                    </a:lnTo>
                    <a:cubicBezTo>
                      <a:pt x="37087" y="293326"/>
                      <a:pt x="34925" y="291520"/>
                      <a:pt x="34925" y="288992"/>
                    </a:cubicBezTo>
                    <a:lnTo>
                      <a:pt x="34925" y="145982"/>
                    </a:lnTo>
                    <a:cubicBezTo>
                      <a:pt x="34925" y="143454"/>
                      <a:pt x="37087" y="141287"/>
                      <a:pt x="39610" y="141287"/>
                    </a:cubicBezTo>
                    <a:close/>
                    <a:moveTo>
                      <a:pt x="107481" y="115887"/>
                    </a:moveTo>
                    <a:lnTo>
                      <a:pt x="174380" y="115887"/>
                    </a:lnTo>
                    <a:cubicBezTo>
                      <a:pt x="177242" y="115887"/>
                      <a:pt x="179030" y="118085"/>
                      <a:pt x="179030" y="120283"/>
                    </a:cubicBezTo>
                    <a:cubicBezTo>
                      <a:pt x="179030" y="122848"/>
                      <a:pt x="177242" y="125046"/>
                      <a:pt x="174380" y="125046"/>
                    </a:cubicBezTo>
                    <a:lnTo>
                      <a:pt x="107481" y="125046"/>
                    </a:lnTo>
                    <a:cubicBezTo>
                      <a:pt x="104977" y="125046"/>
                      <a:pt x="103188" y="122848"/>
                      <a:pt x="103188" y="120283"/>
                    </a:cubicBezTo>
                    <a:cubicBezTo>
                      <a:pt x="103188" y="118085"/>
                      <a:pt x="104977" y="115887"/>
                      <a:pt x="107481" y="115887"/>
                    </a:cubicBezTo>
                    <a:close/>
                    <a:moveTo>
                      <a:pt x="32888" y="115887"/>
                    </a:moveTo>
                    <a:lnTo>
                      <a:pt x="81052" y="115887"/>
                    </a:lnTo>
                    <a:cubicBezTo>
                      <a:pt x="83568" y="115887"/>
                      <a:pt x="85365" y="118085"/>
                      <a:pt x="85365" y="120283"/>
                    </a:cubicBezTo>
                    <a:cubicBezTo>
                      <a:pt x="85365" y="122848"/>
                      <a:pt x="83568" y="125046"/>
                      <a:pt x="81052" y="125046"/>
                    </a:cubicBezTo>
                    <a:lnTo>
                      <a:pt x="32888" y="125046"/>
                    </a:lnTo>
                    <a:cubicBezTo>
                      <a:pt x="30372" y="125046"/>
                      <a:pt x="28575" y="122848"/>
                      <a:pt x="28575" y="120283"/>
                    </a:cubicBezTo>
                    <a:cubicBezTo>
                      <a:pt x="28575" y="118085"/>
                      <a:pt x="30372" y="115887"/>
                      <a:pt x="32888" y="115887"/>
                    </a:cubicBezTo>
                    <a:close/>
                    <a:moveTo>
                      <a:pt x="174544" y="90487"/>
                    </a:moveTo>
                    <a:lnTo>
                      <a:pt x="200107" y="90487"/>
                    </a:lnTo>
                    <a:cubicBezTo>
                      <a:pt x="202628" y="90487"/>
                      <a:pt x="204428" y="92685"/>
                      <a:pt x="204428" y="94883"/>
                    </a:cubicBezTo>
                    <a:cubicBezTo>
                      <a:pt x="204428" y="97448"/>
                      <a:pt x="202628" y="99646"/>
                      <a:pt x="200107" y="99646"/>
                    </a:cubicBezTo>
                    <a:lnTo>
                      <a:pt x="174544" y="99646"/>
                    </a:lnTo>
                    <a:cubicBezTo>
                      <a:pt x="172023" y="99646"/>
                      <a:pt x="169863" y="97448"/>
                      <a:pt x="169863" y="94883"/>
                    </a:cubicBezTo>
                    <a:cubicBezTo>
                      <a:pt x="169863" y="92685"/>
                      <a:pt x="172023" y="90487"/>
                      <a:pt x="174544" y="90487"/>
                    </a:cubicBezTo>
                    <a:close/>
                    <a:moveTo>
                      <a:pt x="126919" y="90487"/>
                    </a:moveTo>
                    <a:lnTo>
                      <a:pt x="152482" y="90487"/>
                    </a:lnTo>
                    <a:cubicBezTo>
                      <a:pt x="154643" y="90487"/>
                      <a:pt x="156803" y="92685"/>
                      <a:pt x="156803" y="94883"/>
                    </a:cubicBezTo>
                    <a:cubicBezTo>
                      <a:pt x="156803" y="97448"/>
                      <a:pt x="154643" y="99646"/>
                      <a:pt x="152482" y="99646"/>
                    </a:cubicBezTo>
                    <a:lnTo>
                      <a:pt x="126919" y="99646"/>
                    </a:lnTo>
                    <a:cubicBezTo>
                      <a:pt x="124398" y="99646"/>
                      <a:pt x="122238" y="97448"/>
                      <a:pt x="122238" y="94883"/>
                    </a:cubicBezTo>
                    <a:cubicBezTo>
                      <a:pt x="122238" y="92685"/>
                      <a:pt x="124398" y="90487"/>
                      <a:pt x="126919" y="90487"/>
                    </a:cubicBezTo>
                    <a:close/>
                    <a:moveTo>
                      <a:pt x="80520" y="90487"/>
                    </a:moveTo>
                    <a:lnTo>
                      <a:pt x="106084" y="90487"/>
                    </a:lnTo>
                    <a:cubicBezTo>
                      <a:pt x="108965" y="90487"/>
                      <a:pt x="110765" y="92685"/>
                      <a:pt x="110765" y="94883"/>
                    </a:cubicBezTo>
                    <a:cubicBezTo>
                      <a:pt x="110765" y="97448"/>
                      <a:pt x="108965" y="99646"/>
                      <a:pt x="106084" y="99646"/>
                    </a:cubicBezTo>
                    <a:lnTo>
                      <a:pt x="80520" y="99646"/>
                    </a:lnTo>
                    <a:cubicBezTo>
                      <a:pt x="78000" y="99646"/>
                      <a:pt x="76200" y="97448"/>
                      <a:pt x="76200" y="94883"/>
                    </a:cubicBezTo>
                    <a:cubicBezTo>
                      <a:pt x="76200" y="92685"/>
                      <a:pt x="78000" y="90487"/>
                      <a:pt x="80520" y="90487"/>
                    </a:cubicBezTo>
                    <a:close/>
                    <a:moveTo>
                      <a:pt x="32940" y="90487"/>
                    </a:moveTo>
                    <a:lnTo>
                      <a:pt x="58770" y="90487"/>
                    </a:lnTo>
                    <a:cubicBezTo>
                      <a:pt x="61317" y="90487"/>
                      <a:pt x="63136" y="92685"/>
                      <a:pt x="63136" y="94883"/>
                    </a:cubicBezTo>
                    <a:cubicBezTo>
                      <a:pt x="63136" y="97448"/>
                      <a:pt x="61317" y="99646"/>
                      <a:pt x="58770" y="99646"/>
                    </a:cubicBezTo>
                    <a:lnTo>
                      <a:pt x="32940" y="99646"/>
                    </a:lnTo>
                    <a:cubicBezTo>
                      <a:pt x="30394" y="99646"/>
                      <a:pt x="28575" y="97448"/>
                      <a:pt x="28575" y="94883"/>
                    </a:cubicBezTo>
                    <a:cubicBezTo>
                      <a:pt x="28575" y="92685"/>
                      <a:pt x="30394" y="90487"/>
                      <a:pt x="32940" y="90487"/>
                    </a:cubicBezTo>
                    <a:close/>
                    <a:moveTo>
                      <a:pt x="185415" y="37677"/>
                    </a:moveTo>
                    <a:cubicBezTo>
                      <a:pt x="182545" y="37677"/>
                      <a:pt x="180034" y="38770"/>
                      <a:pt x="178240" y="40590"/>
                    </a:cubicBezTo>
                    <a:cubicBezTo>
                      <a:pt x="179316" y="42775"/>
                      <a:pt x="179675" y="45688"/>
                      <a:pt x="179675" y="48236"/>
                    </a:cubicBezTo>
                    <a:cubicBezTo>
                      <a:pt x="179675" y="50785"/>
                      <a:pt x="179316" y="53698"/>
                      <a:pt x="178240" y="56247"/>
                    </a:cubicBezTo>
                    <a:cubicBezTo>
                      <a:pt x="180034" y="57703"/>
                      <a:pt x="182545" y="58795"/>
                      <a:pt x="185415" y="58795"/>
                    </a:cubicBezTo>
                    <a:cubicBezTo>
                      <a:pt x="190797" y="58795"/>
                      <a:pt x="195460" y="54062"/>
                      <a:pt x="195460" y="48236"/>
                    </a:cubicBezTo>
                    <a:cubicBezTo>
                      <a:pt x="195460" y="42411"/>
                      <a:pt x="190797" y="37677"/>
                      <a:pt x="185415" y="37677"/>
                    </a:cubicBezTo>
                    <a:close/>
                    <a:moveTo>
                      <a:pt x="160661" y="37677"/>
                    </a:moveTo>
                    <a:cubicBezTo>
                      <a:pt x="154921" y="37677"/>
                      <a:pt x="150257" y="42411"/>
                      <a:pt x="150257" y="48236"/>
                    </a:cubicBezTo>
                    <a:cubicBezTo>
                      <a:pt x="150257" y="54062"/>
                      <a:pt x="154921" y="58795"/>
                      <a:pt x="160661" y="58795"/>
                    </a:cubicBezTo>
                    <a:cubicBezTo>
                      <a:pt x="166401" y="58795"/>
                      <a:pt x="171065" y="54062"/>
                      <a:pt x="171065" y="48236"/>
                    </a:cubicBezTo>
                    <a:cubicBezTo>
                      <a:pt x="171065" y="42411"/>
                      <a:pt x="166401" y="37677"/>
                      <a:pt x="160661" y="37677"/>
                    </a:cubicBezTo>
                    <a:close/>
                    <a:moveTo>
                      <a:pt x="39023" y="37677"/>
                    </a:moveTo>
                    <a:cubicBezTo>
                      <a:pt x="38303" y="37677"/>
                      <a:pt x="37582" y="38406"/>
                      <a:pt x="37582" y="39134"/>
                    </a:cubicBezTo>
                    <a:lnTo>
                      <a:pt x="37582" y="57339"/>
                    </a:lnTo>
                    <a:cubicBezTo>
                      <a:pt x="37582" y="58067"/>
                      <a:pt x="38303" y="58795"/>
                      <a:pt x="39023" y="58795"/>
                    </a:cubicBezTo>
                    <a:lnTo>
                      <a:pt x="68566" y="58795"/>
                    </a:lnTo>
                    <a:cubicBezTo>
                      <a:pt x="69647" y="58795"/>
                      <a:pt x="70007" y="58067"/>
                      <a:pt x="70007" y="57339"/>
                    </a:cubicBezTo>
                    <a:lnTo>
                      <a:pt x="70007" y="39134"/>
                    </a:lnTo>
                    <a:cubicBezTo>
                      <a:pt x="70007" y="38406"/>
                      <a:pt x="69647" y="37677"/>
                      <a:pt x="68566" y="37677"/>
                    </a:cubicBezTo>
                    <a:lnTo>
                      <a:pt x="39023" y="37677"/>
                    </a:lnTo>
                    <a:close/>
                    <a:moveTo>
                      <a:pt x="160661" y="28575"/>
                    </a:moveTo>
                    <a:cubicBezTo>
                      <a:pt x="165325" y="28575"/>
                      <a:pt x="169630" y="30760"/>
                      <a:pt x="172859" y="33308"/>
                    </a:cubicBezTo>
                    <a:cubicBezTo>
                      <a:pt x="176446" y="30395"/>
                      <a:pt x="180393" y="28575"/>
                      <a:pt x="185415" y="28575"/>
                    </a:cubicBezTo>
                    <a:cubicBezTo>
                      <a:pt x="195819" y="28575"/>
                      <a:pt x="204429" y="37313"/>
                      <a:pt x="204429" y="48236"/>
                    </a:cubicBezTo>
                    <a:cubicBezTo>
                      <a:pt x="204429" y="59159"/>
                      <a:pt x="195819" y="67898"/>
                      <a:pt x="185415" y="67898"/>
                    </a:cubicBezTo>
                    <a:cubicBezTo>
                      <a:pt x="180393" y="67898"/>
                      <a:pt x="176446" y="66077"/>
                      <a:pt x="172859" y="63165"/>
                    </a:cubicBezTo>
                    <a:cubicBezTo>
                      <a:pt x="169630" y="66077"/>
                      <a:pt x="165325" y="67898"/>
                      <a:pt x="160661" y="67898"/>
                    </a:cubicBezTo>
                    <a:cubicBezTo>
                      <a:pt x="149898" y="67898"/>
                      <a:pt x="141288" y="59159"/>
                      <a:pt x="141288" y="48236"/>
                    </a:cubicBezTo>
                    <a:cubicBezTo>
                      <a:pt x="141288" y="37313"/>
                      <a:pt x="149898" y="28575"/>
                      <a:pt x="160661" y="28575"/>
                    </a:cubicBezTo>
                    <a:close/>
                    <a:moveTo>
                      <a:pt x="39023" y="28575"/>
                    </a:moveTo>
                    <a:lnTo>
                      <a:pt x="68566" y="28575"/>
                    </a:lnTo>
                    <a:cubicBezTo>
                      <a:pt x="74331" y="28575"/>
                      <a:pt x="79015" y="33308"/>
                      <a:pt x="79015" y="39134"/>
                    </a:cubicBezTo>
                    <a:lnTo>
                      <a:pt x="79015" y="57339"/>
                    </a:lnTo>
                    <a:cubicBezTo>
                      <a:pt x="79015" y="63165"/>
                      <a:pt x="74331" y="67898"/>
                      <a:pt x="68566" y="67898"/>
                    </a:cubicBezTo>
                    <a:lnTo>
                      <a:pt x="39023" y="67898"/>
                    </a:lnTo>
                    <a:cubicBezTo>
                      <a:pt x="32898" y="67898"/>
                      <a:pt x="28575" y="63165"/>
                      <a:pt x="28575" y="57339"/>
                    </a:cubicBezTo>
                    <a:lnTo>
                      <a:pt x="28575" y="39134"/>
                    </a:lnTo>
                    <a:cubicBezTo>
                      <a:pt x="28575" y="33308"/>
                      <a:pt x="32898" y="28575"/>
                      <a:pt x="39023" y="28575"/>
                    </a:cubicBezTo>
                    <a:close/>
                    <a:moveTo>
                      <a:pt x="16216" y="0"/>
                    </a:moveTo>
                    <a:lnTo>
                      <a:pt x="218014" y="0"/>
                    </a:lnTo>
                    <a:cubicBezTo>
                      <a:pt x="227022" y="0"/>
                      <a:pt x="234590" y="7169"/>
                      <a:pt x="234590" y="16131"/>
                    </a:cubicBezTo>
                    <a:lnTo>
                      <a:pt x="234590" y="128331"/>
                    </a:lnTo>
                    <a:cubicBezTo>
                      <a:pt x="234590" y="130841"/>
                      <a:pt x="232428" y="132991"/>
                      <a:pt x="229905" y="132991"/>
                    </a:cubicBezTo>
                    <a:cubicBezTo>
                      <a:pt x="227383" y="132991"/>
                      <a:pt x="225581" y="130841"/>
                      <a:pt x="225581" y="128331"/>
                    </a:cubicBezTo>
                    <a:lnTo>
                      <a:pt x="225581" y="16131"/>
                    </a:lnTo>
                    <a:cubicBezTo>
                      <a:pt x="225581" y="12188"/>
                      <a:pt x="222338" y="8962"/>
                      <a:pt x="218014" y="8962"/>
                    </a:cubicBezTo>
                    <a:lnTo>
                      <a:pt x="16216" y="8962"/>
                    </a:lnTo>
                    <a:cubicBezTo>
                      <a:pt x="11892" y="8962"/>
                      <a:pt x="8648" y="12188"/>
                      <a:pt x="8648" y="16131"/>
                    </a:cubicBezTo>
                    <a:lnTo>
                      <a:pt x="8648" y="160952"/>
                    </a:lnTo>
                    <a:cubicBezTo>
                      <a:pt x="8648" y="165254"/>
                      <a:pt x="11892" y="168480"/>
                      <a:pt x="16216" y="168480"/>
                    </a:cubicBezTo>
                    <a:lnTo>
                      <a:pt x="21981" y="168480"/>
                    </a:lnTo>
                    <a:cubicBezTo>
                      <a:pt x="24504" y="168480"/>
                      <a:pt x="26306" y="170272"/>
                      <a:pt x="26306" y="172781"/>
                    </a:cubicBezTo>
                    <a:cubicBezTo>
                      <a:pt x="26306" y="175291"/>
                      <a:pt x="24504" y="177441"/>
                      <a:pt x="21981" y="177441"/>
                    </a:cubicBezTo>
                    <a:lnTo>
                      <a:pt x="16216" y="177441"/>
                    </a:lnTo>
                    <a:cubicBezTo>
                      <a:pt x="7207" y="177441"/>
                      <a:pt x="0" y="169914"/>
                      <a:pt x="0" y="160952"/>
                    </a:cubicBezTo>
                    <a:lnTo>
                      <a:pt x="0" y="16131"/>
                    </a:lnTo>
                    <a:cubicBezTo>
                      <a:pt x="0" y="7169"/>
                      <a:pt x="7207" y="0"/>
                      <a:pt x="16216" y="0"/>
                    </a:cubicBezTo>
                    <a:close/>
                  </a:path>
                </a:pathLst>
              </a:custGeom>
              <a:solidFill>
                <a:schemeClr val="bg1"/>
              </a:solidFill>
              <a:ln>
                <a:noFill/>
              </a:ln>
            </p:spPr>
            <p:txBody>
              <a:bodyPr anchor="ctr"/>
              <a:lstStyle/>
              <a:p>
                <a:pPr defTabSz="685571">
                  <a:defRPr/>
                </a:pPr>
                <a:endParaRPr lang="en-US" sz="1350" dirty="0">
                  <a:solidFill>
                    <a:srgbClr val="AAAAAA"/>
                  </a:solidFill>
                  <a:latin typeface="Roboto Light" panose="02000000000000000000" pitchFamily="2" charset="0"/>
                  <a:ea typeface="Roboto Light" panose="02000000000000000000" pitchFamily="2" charset="0"/>
                </a:endParaRPr>
              </a:p>
            </p:txBody>
          </p:sp>
          <p:sp>
            <p:nvSpPr>
              <p:cNvPr id="79" name="Freeform 932">
                <a:extLst>
                  <a:ext uri="{FF2B5EF4-FFF2-40B4-BE49-F238E27FC236}">
                    <a16:creationId xmlns:a16="http://schemas.microsoft.com/office/drawing/2014/main" id="{453F3C5A-BF69-4E60-B213-C4D9B5A1F31E}"/>
                  </a:ext>
                </a:extLst>
              </p:cNvPr>
              <p:cNvSpPr>
                <a:spLocks noChangeAspect="1"/>
              </p:cNvSpPr>
              <p:nvPr/>
            </p:nvSpPr>
            <p:spPr bwMode="auto">
              <a:xfrm>
                <a:off x="4133791" y="3643775"/>
                <a:ext cx="368433" cy="367338"/>
              </a:xfrm>
              <a:custGeom>
                <a:avLst/>
                <a:gdLst>
                  <a:gd name="T0" fmla="*/ 6095595 w 293327"/>
                  <a:gd name="T1" fmla="*/ 8948186 h 293328"/>
                  <a:gd name="T2" fmla="*/ 7367182 w 293327"/>
                  <a:gd name="T3" fmla="*/ 9215487 h 293328"/>
                  <a:gd name="T4" fmla="*/ 7655617 w 293327"/>
                  <a:gd name="T5" fmla="*/ 8362698 h 293328"/>
                  <a:gd name="T6" fmla="*/ 3265833 w 293327"/>
                  <a:gd name="T7" fmla="*/ 8273602 h 293328"/>
                  <a:gd name="T8" fmla="*/ 3083357 w 293327"/>
                  <a:gd name="T9" fmla="*/ 8999110 h 293328"/>
                  <a:gd name="T10" fmla="*/ 4543306 w 293327"/>
                  <a:gd name="T11" fmla="*/ 9139131 h 293328"/>
                  <a:gd name="T12" fmla="*/ 4321683 w 293327"/>
                  <a:gd name="T13" fmla="*/ 8273602 h 293328"/>
                  <a:gd name="T14" fmla="*/ 7445859 w 293327"/>
                  <a:gd name="T15" fmla="*/ 7955366 h 293328"/>
                  <a:gd name="T16" fmla="*/ 7957115 w 293327"/>
                  <a:gd name="T17" fmla="*/ 9050024 h 293328"/>
                  <a:gd name="T18" fmla="*/ 5925230 w 293327"/>
                  <a:gd name="T19" fmla="*/ 9355518 h 293328"/>
                  <a:gd name="T20" fmla="*/ 6384047 w 293327"/>
                  <a:gd name="T21" fmla="*/ 7955366 h 293328"/>
                  <a:gd name="T22" fmla="*/ 4921303 w 293327"/>
                  <a:gd name="T23" fmla="*/ 8502717 h 293328"/>
                  <a:gd name="T24" fmla="*/ 4347750 w 293327"/>
                  <a:gd name="T25" fmla="*/ 9533672 h 293328"/>
                  <a:gd name="T26" fmla="*/ 2679307 w 293327"/>
                  <a:gd name="T27" fmla="*/ 8629981 h 293328"/>
                  <a:gd name="T28" fmla="*/ 6493252 w 293327"/>
                  <a:gd name="T29" fmla="*/ 5946382 h 293328"/>
                  <a:gd name="T30" fmla="*/ 6285609 w 293327"/>
                  <a:gd name="T31" fmla="*/ 6806040 h 293328"/>
                  <a:gd name="T32" fmla="*/ 8037609 w 293327"/>
                  <a:gd name="T33" fmla="*/ 6677724 h 293328"/>
                  <a:gd name="T34" fmla="*/ 7855873 w 293327"/>
                  <a:gd name="T35" fmla="*/ 5946382 h 293328"/>
                  <a:gd name="T36" fmla="*/ 2651821 w 293327"/>
                  <a:gd name="T37" fmla="*/ 6036181 h 293328"/>
                  <a:gd name="T38" fmla="*/ 2937267 w 293327"/>
                  <a:gd name="T39" fmla="*/ 6895839 h 293328"/>
                  <a:gd name="T40" fmla="*/ 4507579 w 293327"/>
                  <a:gd name="T41" fmla="*/ 6613578 h 293328"/>
                  <a:gd name="T42" fmla="*/ 2859450 w 293327"/>
                  <a:gd name="T43" fmla="*/ 5946382 h 293328"/>
                  <a:gd name="T44" fmla="*/ 8297143 w 293327"/>
                  <a:gd name="T45" fmla="*/ 5830910 h 293328"/>
                  <a:gd name="T46" fmla="*/ 7778005 w 293327"/>
                  <a:gd name="T47" fmla="*/ 7203826 h 293328"/>
                  <a:gd name="T48" fmla="*/ 5883279 w 293327"/>
                  <a:gd name="T49" fmla="*/ 6600738 h 293328"/>
                  <a:gd name="T50" fmla="*/ 2859450 w 293327"/>
                  <a:gd name="T51" fmla="*/ 5625582 h 293328"/>
                  <a:gd name="T52" fmla="*/ 4819115 w 293327"/>
                  <a:gd name="T53" fmla="*/ 6600738 h 293328"/>
                  <a:gd name="T54" fmla="*/ 2937267 w 293327"/>
                  <a:gd name="T55" fmla="*/ 7203826 h 293328"/>
                  <a:gd name="T56" fmla="*/ 2405182 w 293327"/>
                  <a:gd name="T57" fmla="*/ 5830910 h 293328"/>
                  <a:gd name="T58" fmla="*/ 2026899 w 293327"/>
                  <a:gd name="T59" fmla="*/ 9817636 h 293328"/>
                  <a:gd name="T60" fmla="*/ 8617547 w 293327"/>
                  <a:gd name="T61" fmla="*/ 9817636 h 293328"/>
                  <a:gd name="T62" fmla="*/ 5322244 w 293327"/>
                  <a:gd name="T63" fmla="*/ 5417053 h 293328"/>
                  <a:gd name="T64" fmla="*/ 5344545 w 293327"/>
                  <a:gd name="T65" fmla="*/ 2613882 h 293328"/>
                  <a:gd name="T66" fmla="*/ 6103762 w 293327"/>
                  <a:gd name="T67" fmla="*/ 3361876 h 293328"/>
                  <a:gd name="T68" fmla="*/ 5514725 w 293327"/>
                  <a:gd name="T69" fmla="*/ 3671393 h 293328"/>
                  <a:gd name="T70" fmla="*/ 5187411 w 293327"/>
                  <a:gd name="T71" fmla="*/ 4264628 h 293328"/>
                  <a:gd name="T72" fmla="*/ 4441236 w 293327"/>
                  <a:gd name="T73" fmla="*/ 3516634 h 293328"/>
                  <a:gd name="T74" fmla="*/ 5187411 w 293327"/>
                  <a:gd name="T75" fmla="*/ 2781553 h 293328"/>
                  <a:gd name="T76" fmla="*/ 3766079 w 293327"/>
                  <a:gd name="T77" fmla="*/ 3551307 h 293328"/>
                  <a:gd name="T78" fmla="*/ 5322244 w 293327"/>
                  <a:gd name="T79" fmla="*/ 2020163 h 293328"/>
                  <a:gd name="T80" fmla="*/ 7806817 w 293327"/>
                  <a:gd name="T81" fmla="*/ 1273880 h 293328"/>
                  <a:gd name="T82" fmla="*/ 2850703 w 293327"/>
                  <a:gd name="T83" fmla="*/ 321688 h 293328"/>
                  <a:gd name="T84" fmla="*/ 3334594 w 293327"/>
                  <a:gd name="T85" fmla="*/ 797696 h 293328"/>
                  <a:gd name="T86" fmla="*/ 3661517 w 293327"/>
                  <a:gd name="T87" fmla="*/ 797696 h 293328"/>
                  <a:gd name="T88" fmla="*/ 863003 w 293327"/>
                  <a:gd name="T89" fmla="*/ 4670801 h 293328"/>
                  <a:gd name="T90" fmla="*/ 5322244 w 293327"/>
                  <a:gd name="T91" fmla="*/ 1698446 h 293328"/>
                  <a:gd name="T92" fmla="*/ 9794485 w 293327"/>
                  <a:gd name="T93" fmla="*/ 4670801 h 293328"/>
                  <a:gd name="T94" fmla="*/ 7009129 w 293327"/>
                  <a:gd name="T95" fmla="*/ 797696 h 293328"/>
                  <a:gd name="T96" fmla="*/ 8329890 w 293327"/>
                  <a:gd name="T97" fmla="*/ 1402480 h 293328"/>
                  <a:gd name="T98" fmla="*/ 10657531 w 293327"/>
                  <a:gd name="T99" fmla="*/ 4825134 h 293328"/>
                  <a:gd name="T100" fmla="*/ 8931422 w 293327"/>
                  <a:gd name="T101" fmla="*/ 9907690 h 293328"/>
                  <a:gd name="T102" fmla="*/ 1726097 w 293327"/>
                  <a:gd name="T103" fmla="*/ 9907690 h 293328"/>
                  <a:gd name="T104" fmla="*/ 0 w 293327"/>
                  <a:gd name="T105" fmla="*/ 4825134 h 293328"/>
                  <a:gd name="T106" fmla="*/ 2327665 w 293327"/>
                  <a:gd name="T107" fmla="*/ 1402480 h 2933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3327" h="293328">
                    <a:moveTo>
                      <a:pt x="175708" y="231140"/>
                    </a:moveTo>
                    <a:cubicBezTo>
                      <a:pt x="171739" y="231140"/>
                      <a:pt x="168492" y="233985"/>
                      <a:pt x="168492" y="238252"/>
                    </a:cubicBezTo>
                    <a:lnTo>
                      <a:pt x="167770" y="249987"/>
                    </a:lnTo>
                    <a:cubicBezTo>
                      <a:pt x="167770" y="251765"/>
                      <a:pt x="168492" y="253898"/>
                      <a:pt x="169935" y="255321"/>
                    </a:cubicBezTo>
                    <a:cubicBezTo>
                      <a:pt x="171017" y="256743"/>
                      <a:pt x="173182" y="257454"/>
                      <a:pt x="174986" y="257454"/>
                    </a:cubicBezTo>
                    <a:lnTo>
                      <a:pt x="202767" y="257454"/>
                    </a:lnTo>
                    <a:cubicBezTo>
                      <a:pt x="206375" y="257454"/>
                      <a:pt x="209622" y="254965"/>
                      <a:pt x="210344" y="251409"/>
                    </a:cubicBezTo>
                    <a:lnTo>
                      <a:pt x="212509" y="239674"/>
                    </a:lnTo>
                    <a:cubicBezTo>
                      <a:pt x="212509" y="237541"/>
                      <a:pt x="212148" y="235407"/>
                      <a:pt x="210705" y="233629"/>
                    </a:cubicBezTo>
                    <a:cubicBezTo>
                      <a:pt x="209262" y="232207"/>
                      <a:pt x="207097" y="231140"/>
                      <a:pt x="204932" y="231140"/>
                    </a:cubicBezTo>
                    <a:lnTo>
                      <a:pt x="175708" y="231140"/>
                    </a:lnTo>
                    <a:close/>
                    <a:moveTo>
                      <a:pt x="89886" y="231140"/>
                    </a:moveTo>
                    <a:cubicBezTo>
                      <a:pt x="87734" y="231140"/>
                      <a:pt x="85581" y="232207"/>
                      <a:pt x="84505" y="233629"/>
                    </a:cubicBezTo>
                    <a:cubicBezTo>
                      <a:pt x="82711" y="235407"/>
                      <a:pt x="82352" y="237541"/>
                      <a:pt x="82711" y="239674"/>
                    </a:cubicBezTo>
                    <a:lnTo>
                      <a:pt x="84864" y="251409"/>
                    </a:lnTo>
                    <a:cubicBezTo>
                      <a:pt x="85222" y="254965"/>
                      <a:pt x="88451" y="257454"/>
                      <a:pt x="92039" y="257454"/>
                    </a:cubicBezTo>
                    <a:lnTo>
                      <a:pt x="119663" y="257454"/>
                    </a:lnTo>
                    <a:cubicBezTo>
                      <a:pt x="121457" y="257454"/>
                      <a:pt x="123610" y="256743"/>
                      <a:pt x="125045" y="255321"/>
                    </a:cubicBezTo>
                    <a:cubicBezTo>
                      <a:pt x="126480" y="253898"/>
                      <a:pt x="127198" y="251765"/>
                      <a:pt x="127198" y="249987"/>
                    </a:cubicBezTo>
                    <a:lnTo>
                      <a:pt x="126480" y="238252"/>
                    </a:lnTo>
                    <a:cubicBezTo>
                      <a:pt x="126121" y="233985"/>
                      <a:pt x="122892" y="231140"/>
                      <a:pt x="118946" y="231140"/>
                    </a:cubicBezTo>
                    <a:lnTo>
                      <a:pt x="89886" y="231140"/>
                    </a:lnTo>
                    <a:close/>
                    <a:moveTo>
                      <a:pt x="175708" y="222250"/>
                    </a:moveTo>
                    <a:lnTo>
                      <a:pt x="204932" y="222250"/>
                    </a:lnTo>
                    <a:cubicBezTo>
                      <a:pt x="209983" y="222250"/>
                      <a:pt x="214313" y="224384"/>
                      <a:pt x="217560" y="227940"/>
                    </a:cubicBezTo>
                    <a:cubicBezTo>
                      <a:pt x="220807" y="231496"/>
                      <a:pt x="221889" y="236474"/>
                      <a:pt x="221168" y="241097"/>
                    </a:cubicBezTo>
                    <a:lnTo>
                      <a:pt x="219003" y="252832"/>
                    </a:lnTo>
                    <a:cubicBezTo>
                      <a:pt x="217560" y="260655"/>
                      <a:pt x="211066" y="266344"/>
                      <a:pt x="202767" y="266344"/>
                    </a:cubicBezTo>
                    <a:lnTo>
                      <a:pt x="174986" y="266344"/>
                    </a:lnTo>
                    <a:cubicBezTo>
                      <a:pt x="170656" y="266344"/>
                      <a:pt x="166327" y="264566"/>
                      <a:pt x="163080" y="261366"/>
                    </a:cubicBezTo>
                    <a:cubicBezTo>
                      <a:pt x="160193" y="258166"/>
                      <a:pt x="158750" y="253898"/>
                      <a:pt x="158750" y="249276"/>
                    </a:cubicBezTo>
                    <a:lnTo>
                      <a:pt x="159472" y="237541"/>
                    </a:lnTo>
                    <a:cubicBezTo>
                      <a:pt x="159472" y="229362"/>
                      <a:pt x="166688" y="222250"/>
                      <a:pt x="175708" y="222250"/>
                    </a:cubicBezTo>
                    <a:close/>
                    <a:moveTo>
                      <a:pt x="89886" y="222250"/>
                    </a:moveTo>
                    <a:lnTo>
                      <a:pt x="118946" y="222250"/>
                    </a:lnTo>
                    <a:cubicBezTo>
                      <a:pt x="127556" y="222250"/>
                      <a:pt x="134731" y="229362"/>
                      <a:pt x="135449" y="237541"/>
                    </a:cubicBezTo>
                    <a:lnTo>
                      <a:pt x="135808" y="249276"/>
                    </a:lnTo>
                    <a:cubicBezTo>
                      <a:pt x="136166" y="253898"/>
                      <a:pt x="134373" y="258166"/>
                      <a:pt x="131144" y="261366"/>
                    </a:cubicBezTo>
                    <a:cubicBezTo>
                      <a:pt x="128274" y="264566"/>
                      <a:pt x="124328" y="266344"/>
                      <a:pt x="119663" y="266344"/>
                    </a:cubicBezTo>
                    <a:lnTo>
                      <a:pt x="92039" y="266344"/>
                    </a:lnTo>
                    <a:cubicBezTo>
                      <a:pt x="84146" y="266344"/>
                      <a:pt x="77330" y="260655"/>
                      <a:pt x="75895" y="252832"/>
                    </a:cubicBezTo>
                    <a:lnTo>
                      <a:pt x="73742" y="241097"/>
                    </a:lnTo>
                    <a:cubicBezTo>
                      <a:pt x="73025" y="236474"/>
                      <a:pt x="74460" y="231496"/>
                      <a:pt x="77330" y="227940"/>
                    </a:cubicBezTo>
                    <a:cubicBezTo>
                      <a:pt x="80559" y="224384"/>
                      <a:pt x="85222" y="222250"/>
                      <a:pt x="89886" y="222250"/>
                    </a:cubicBezTo>
                    <a:close/>
                    <a:moveTo>
                      <a:pt x="178713" y="166124"/>
                    </a:moveTo>
                    <a:cubicBezTo>
                      <a:pt x="174784" y="166124"/>
                      <a:pt x="171569" y="168991"/>
                      <a:pt x="171569" y="172935"/>
                    </a:cubicBezTo>
                    <a:lnTo>
                      <a:pt x="170855" y="184764"/>
                    </a:lnTo>
                    <a:cubicBezTo>
                      <a:pt x="170855" y="186915"/>
                      <a:pt x="171569" y="188707"/>
                      <a:pt x="172998" y="190141"/>
                    </a:cubicBezTo>
                    <a:cubicBezTo>
                      <a:pt x="174427" y="191575"/>
                      <a:pt x="176213" y="192650"/>
                      <a:pt x="178356" y="192650"/>
                    </a:cubicBezTo>
                    <a:lnTo>
                      <a:pt x="214074" y="192650"/>
                    </a:lnTo>
                    <a:cubicBezTo>
                      <a:pt x="217646" y="192650"/>
                      <a:pt x="220861" y="190141"/>
                      <a:pt x="221218" y="186556"/>
                    </a:cubicBezTo>
                    <a:lnTo>
                      <a:pt x="223718" y="174727"/>
                    </a:lnTo>
                    <a:cubicBezTo>
                      <a:pt x="224075" y="172576"/>
                      <a:pt x="223361" y="170425"/>
                      <a:pt x="221932" y="168633"/>
                    </a:cubicBezTo>
                    <a:cubicBezTo>
                      <a:pt x="220504" y="166841"/>
                      <a:pt x="218360" y="166124"/>
                      <a:pt x="216217" y="166124"/>
                    </a:cubicBezTo>
                    <a:lnTo>
                      <a:pt x="178713" y="166124"/>
                    </a:lnTo>
                    <a:close/>
                    <a:moveTo>
                      <a:pt x="78700" y="166124"/>
                    </a:moveTo>
                    <a:cubicBezTo>
                      <a:pt x="76557" y="166124"/>
                      <a:pt x="74413" y="166841"/>
                      <a:pt x="72985" y="168633"/>
                    </a:cubicBezTo>
                    <a:cubicBezTo>
                      <a:pt x="71913" y="170425"/>
                      <a:pt x="71199" y="172576"/>
                      <a:pt x="71556" y="174727"/>
                    </a:cubicBezTo>
                    <a:lnTo>
                      <a:pt x="73699" y="186556"/>
                    </a:lnTo>
                    <a:cubicBezTo>
                      <a:pt x="74056" y="190141"/>
                      <a:pt x="77271" y="192650"/>
                      <a:pt x="80843" y="192650"/>
                    </a:cubicBezTo>
                    <a:lnTo>
                      <a:pt x="116562" y="192650"/>
                    </a:lnTo>
                    <a:cubicBezTo>
                      <a:pt x="118705" y="192650"/>
                      <a:pt x="120848" y="191575"/>
                      <a:pt x="121920" y="190141"/>
                    </a:cubicBezTo>
                    <a:cubicBezTo>
                      <a:pt x="123349" y="188707"/>
                      <a:pt x="124063" y="186915"/>
                      <a:pt x="124063" y="184764"/>
                    </a:cubicBezTo>
                    <a:lnTo>
                      <a:pt x="123349" y="172935"/>
                    </a:lnTo>
                    <a:cubicBezTo>
                      <a:pt x="123349" y="168991"/>
                      <a:pt x="120134" y="166124"/>
                      <a:pt x="115847" y="166124"/>
                    </a:cubicBezTo>
                    <a:lnTo>
                      <a:pt x="78700" y="166124"/>
                    </a:lnTo>
                    <a:close/>
                    <a:moveTo>
                      <a:pt x="178713" y="157162"/>
                    </a:moveTo>
                    <a:lnTo>
                      <a:pt x="216217" y="157162"/>
                    </a:lnTo>
                    <a:cubicBezTo>
                      <a:pt x="220861" y="157162"/>
                      <a:pt x="225504" y="159313"/>
                      <a:pt x="228362" y="162898"/>
                    </a:cubicBezTo>
                    <a:cubicBezTo>
                      <a:pt x="231576" y="166841"/>
                      <a:pt x="233005" y="171501"/>
                      <a:pt x="231934" y="176161"/>
                    </a:cubicBezTo>
                    <a:lnTo>
                      <a:pt x="230148" y="187990"/>
                    </a:lnTo>
                    <a:cubicBezTo>
                      <a:pt x="228719" y="195877"/>
                      <a:pt x="221932" y="201254"/>
                      <a:pt x="214074" y="201254"/>
                    </a:cubicBezTo>
                    <a:lnTo>
                      <a:pt x="178356" y="201254"/>
                    </a:lnTo>
                    <a:cubicBezTo>
                      <a:pt x="173712" y="201254"/>
                      <a:pt x="169783" y="199820"/>
                      <a:pt x="166569" y="196235"/>
                    </a:cubicBezTo>
                    <a:cubicBezTo>
                      <a:pt x="163354" y="193367"/>
                      <a:pt x="161925" y="189066"/>
                      <a:pt x="161925" y="184406"/>
                    </a:cubicBezTo>
                    <a:lnTo>
                      <a:pt x="162640" y="172576"/>
                    </a:lnTo>
                    <a:cubicBezTo>
                      <a:pt x="162997" y="163973"/>
                      <a:pt x="170141" y="157162"/>
                      <a:pt x="178713" y="157162"/>
                    </a:cubicBezTo>
                    <a:close/>
                    <a:moveTo>
                      <a:pt x="78700" y="157162"/>
                    </a:moveTo>
                    <a:lnTo>
                      <a:pt x="115847" y="157162"/>
                    </a:lnTo>
                    <a:cubicBezTo>
                      <a:pt x="124778" y="157162"/>
                      <a:pt x="131921" y="163973"/>
                      <a:pt x="132279" y="172576"/>
                    </a:cubicBezTo>
                    <a:lnTo>
                      <a:pt x="132636" y="184406"/>
                    </a:lnTo>
                    <a:cubicBezTo>
                      <a:pt x="132993" y="189066"/>
                      <a:pt x="131564" y="193367"/>
                      <a:pt x="128350" y="196235"/>
                    </a:cubicBezTo>
                    <a:cubicBezTo>
                      <a:pt x="125135" y="199820"/>
                      <a:pt x="121205" y="201254"/>
                      <a:pt x="116562" y="201254"/>
                    </a:cubicBezTo>
                    <a:lnTo>
                      <a:pt x="80843" y="201254"/>
                    </a:lnTo>
                    <a:cubicBezTo>
                      <a:pt x="72985" y="201254"/>
                      <a:pt x="66198" y="195877"/>
                      <a:pt x="64769" y="187990"/>
                    </a:cubicBezTo>
                    <a:lnTo>
                      <a:pt x="62626" y="176161"/>
                    </a:lnTo>
                    <a:cubicBezTo>
                      <a:pt x="61912" y="171501"/>
                      <a:pt x="63341" y="166841"/>
                      <a:pt x="66198" y="162898"/>
                    </a:cubicBezTo>
                    <a:cubicBezTo>
                      <a:pt x="69413" y="159313"/>
                      <a:pt x="74056" y="157162"/>
                      <a:pt x="78700" y="157162"/>
                    </a:cubicBezTo>
                    <a:close/>
                    <a:moveTo>
                      <a:pt x="21954" y="139115"/>
                    </a:moveTo>
                    <a:lnTo>
                      <a:pt x="55786" y="274276"/>
                    </a:lnTo>
                    <a:cubicBezTo>
                      <a:pt x="57585" y="280387"/>
                      <a:pt x="62984" y="284341"/>
                      <a:pt x="69103" y="284341"/>
                    </a:cubicBezTo>
                    <a:lnTo>
                      <a:pt x="224225" y="284341"/>
                    </a:lnTo>
                    <a:cubicBezTo>
                      <a:pt x="230703" y="284341"/>
                      <a:pt x="235742" y="280387"/>
                      <a:pt x="237181" y="274276"/>
                    </a:cubicBezTo>
                    <a:lnTo>
                      <a:pt x="271373" y="139115"/>
                    </a:lnTo>
                    <a:lnTo>
                      <a:pt x="179596" y="139115"/>
                    </a:lnTo>
                    <a:cubicBezTo>
                      <a:pt x="170598" y="146664"/>
                      <a:pt x="159441" y="151337"/>
                      <a:pt x="146484" y="151337"/>
                    </a:cubicBezTo>
                    <a:cubicBezTo>
                      <a:pt x="134247" y="151337"/>
                      <a:pt x="122730" y="146664"/>
                      <a:pt x="113731" y="139115"/>
                    </a:cubicBezTo>
                    <a:lnTo>
                      <a:pt x="21954" y="139115"/>
                    </a:lnTo>
                    <a:close/>
                    <a:moveTo>
                      <a:pt x="147097" y="73025"/>
                    </a:moveTo>
                    <a:cubicBezTo>
                      <a:pt x="149979" y="73025"/>
                      <a:pt x="151781" y="75187"/>
                      <a:pt x="151781" y="77709"/>
                    </a:cubicBezTo>
                    <a:lnTo>
                      <a:pt x="151781" y="93921"/>
                    </a:lnTo>
                    <a:lnTo>
                      <a:pt x="167993" y="93921"/>
                    </a:lnTo>
                    <a:cubicBezTo>
                      <a:pt x="170515" y="93921"/>
                      <a:pt x="172677" y="95723"/>
                      <a:pt x="172677" y="98245"/>
                    </a:cubicBezTo>
                    <a:cubicBezTo>
                      <a:pt x="172677" y="100767"/>
                      <a:pt x="170515" y="102568"/>
                      <a:pt x="167993" y="102568"/>
                    </a:cubicBezTo>
                    <a:lnTo>
                      <a:pt x="151781" y="102568"/>
                    </a:lnTo>
                    <a:lnTo>
                      <a:pt x="151781" y="119141"/>
                    </a:lnTo>
                    <a:cubicBezTo>
                      <a:pt x="151781" y="121663"/>
                      <a:pt x="149979" y="123465"/>
                      <a:pt x="147097" y="123465"/>
                    </a:cubicBezTo>
                    <a:cubicBezTo>
                      <a:pt x="144935" y="123465"/>
                      <a:pt x="142773" y="121663"/>
                      <a:pt x="142773" y="119141"/>
                    </a:cubicBezTo>
                    <a:lnTo>
                      <a:pt x="142773" y="102568"/>
                    </a:lnTo>
                    <a:lnTo>
                      <a:pt x="126561" y="102568"/>
                    </a:lnTo>
                    <a:cubicBezTo>
                      <a:pt x="124039" y="102568"/>
                      <a:pt x="122237" y="100767"/>
                      <a:pt x="122237" y="98245"/>
                    </a:cubicBezTo>
                    <a:cubicBezTo>
                      <a:pt x="122237" y="95723"/>
                      <a:pt x="124039" y="93921"/>
                      <a:pt x="126561" y="93921"/>
                    </a:cubicBezTo>
                    <a:lnTo>
                      <a:pt x="142773" y="93921"/>
                    </a:lnTo>
                    <a:lnTo>
                      <a:pt x="142773" y="77709"/>
                    </a:lnTo>
                    <a:cubicBezTo>
                      <a:pt x="142773" y="75187"/>
                      <a:pt x="144935" y="73025"/>
                      <a:pt x="147097" y="73025"/>
                    </a:cubicBezTo>
                    <a:close/>
                    <a:moveTo>
                      <a:pt x="146484" y="56437"/>
                    </a:moveTo>
                    <a:cubicBezTo>
                      <a:pt x="123090" y="56437"/>
                      <a:pt x="103654" y="75848"/>
                      <a:pt x="103654" y="99214"/>
                    </a:cubicBezTo>
                    <a:cubicBezTo>
                      <a:pt x="103654" y="122939"/>
                      <a:pt x="123090" y="141991"/>
                      <a:pt x="146484" y="141991"/>
                    </a:cubicBezTo>
                    <a:cubicBezTo>
                      <a:pt x="170238" y="141991"/>
                      <a:pt x="189673" y="122939"/>
                      <a:pt x="189673" y="99214"/>
                    </a:cubicBezTo>
                    <a:cubicBezTo>
                      <a:pt x="189673" y="75848"/>
                      <a:pt x="170238" y="56437"/>
                      <a:pt x="146484" y="56437"/>
                    </a:cubicBezTo>
                    <a:close/>
                    <a:moveTo>
                      <a:pt x="214867" y="8987"/>
                    </a:moveTo>
                    <a:cubicBezTo>
                      <a:pt x="207669" y="8987"/>
                      <a:pt x="201550" y="14738"/>
                      <a:pt x="201550" y="22287"/>
                    </a:cubicBezTo>
                    <a:cubicBezTo>
                      <a:pt x="201550" y="29477"/>
                      <a:pt x="207669" y="35587"/>
                      <a:pt x="214867" y="35587"/>
                    </a:cubicBezTo>
                    <a:cubicBezTo>
                      <a:pt x="222425" y="35587"/>
                      <a:pt x="228184" y="29477"/>
                      <a:pt x="228184" y="22287"/>
                    </a:cubicBezTo>
                    <a:cubicBezTo>
                      <a:pt x="228184" y="14738"/>
                      <a:pt x="222425" y="8987"/>
                      <a:pt x="214867" y="8987"/>
                    </a:cubicBezTo>
                    <a:close/>
                    <a:moveTo>
                      <a:pt x="78460" y="8987"/>
                    </a:moveTo>
                    <a:cubicBezTo>
                      <a:pt x="71262" y="8987"/>
                      <a:pt x="65144" y="14738"/>
                      <a:pt x="65144" y="22287"/>
                    </a:cubicBezTo>
                    <a:cubicBezTo>
                      <a:pt x="65144" y="29477"/>
                      <a:pt x="71262" y="35587"/>
                      <a:pt x="78460" y="35587"/>
                    </a:cubicBezTo>
                    <a:cubicBezTo>
                      <a:pt x="86018" y="35587"/>
                      <a:pt x="91777" y="29477"/>
                      <a:pt x="91777" y="22287"/>
                    </a:cubicBezTo>
                    <a:cubicBezTo>
                      <a:pt x="91777" y="14738"/>
                      <a:pt x="86018" y="8987"/>
                      <a:pt x="78460" y="8987"/>
                    </a:cubicBezTo>
                    <a:close/>
                    <a:moveTo>
                      <a:pt x="78460" y="0"/>
                    </a:moveTo>
                    <a:cubicBezTo>
                      <a:pt x="90697" y="0"/>
                      <a:pt x="100775" y="10065"/>
                      <a:pt x="100775" y="22287"/>
                    </a:cubicBezTo>
                    <a:cubicBezTo>
                      <a:pt x="100775" y="34509"/>
                      <a:pt x="90697" y="44215"/>
                      <a:pt x="78460" y="44215"/>
                    </a:cubicBezTo>
                    <a:cubicBezTo>
                      <a:pt x="76301" y="44215"/>
                      <a:pt x="73781" y="43855"/>
                      <a:pt x="71982" y="43496"/>
                    </a:cubicBezTo>
                    <a:lnTo>
                      <a:pt x="23754" y="130488"/>
                    </a:lnTo>
                    <a:lnTo>
                      <a:pt x="105094" y="130488"/>
                    </a:lnTo>
                    <a:cubicBezTo>
                      <a:pt x="98615" y="121501"/>
                      <a:pt x="95016" y="110717"/>
                      <a:pt x="95016" y="99214"/>
                    </a:cubicBezTo>
                    <a:cubicBezTo>
                      <a:pt x="95016" y="70816"/>
                      <a:pt x="118050" y="47450"/>
                      <a:pt x="146484" y="47450"/>
                    </a:cubicBezTo>
                    <a:cubicBezTo>
                      <a:pt x="175277" y="47450"/>
                      <a:pt x="198671" y="70816"/>
                      <a:pt x="198671" y="99214"/>
                    </a:cubicBezTo>
                    <a:cubicBezTo>
                      <a:pt x="198671" y="110717"/>
                      <a:pt x="194712" y="121501"/>
                      <a:pt x="187874" y="130488"/>
                    </a:cubicBezTo>
                    <a:lnTo>
                      <a:pt x="269573" y="130488"/>
                    </a:lnTo>
                    <a:lnTo>
                      <a:pt x="221345" y="43496"/>
                    </a:lnTo>
                    <a:cubicBezTo>
                      <a:pt x="219546" y="43855"/>
                      <a:pt x="217386" y="44215"/>
                      <a:pt x="214867" y="44215"/>
                    </a:cubicBezTo>
                    <a:cubicBezTo>
                      <a:pt x="202630" y="44215"/>
                      <a:pt x="192912" y="34509"/>
                      <a:pt x="192912" y="22287"/>
                    </a:cubicBezTo>
                    <a:cubicBezTo>
                      <a:pt x="192912" y="10065"/>
                      <a:pt x="202630" y="0"/>
                      <a:pt x="214867" y="0"/>
                    </a:cubicBezTo>
                    <a:cubicBezTo>
                      <a:pt x="227104" y="0"/>
                      <a:pt x="237181" y="10065"/>
                      <a:pt x="237181" y="22287"/>
                    </a:cubicBezTo>
                    <a:cubicBezTo>
                      <a:pt x="237181" y="29117"/>
                      <a:pt x="233942" y="34869"/>
                      <a:pt x="229263" y="39182"/>
                    </a:cubicBezTo>
                    <a:lnTo>
                      <a:pt x="279651" y="130488"/>
                    </a:lnTo>
                    <a:lnTo>
                      <a:pt x="289008" y="130488"/>
                    </a:lnTo>
                    <a:cubicBezTo>
                      <a:pt x="291528" y="130488"/>
                      <a:pt x="293327" y="132285"/>
                      <a:pt x="293327" y="134801"/>
                    </a:cubicBezTo>
                    <a:cubicBezTo>
                      <a:pt x="293327" y="137318"/>
                      <a:pt x="291528" y="139115"/>
                      <a:pt x="289008" y="139115"/>
                    </a:cubicBezTo>
                    <a:lnTo>
                      <a:pt x="280730" y="139115"/>
                    </a:lnTo>
                    <a:lnTo>
                      <a:pt x="245819" y="276792"/>
                    </a:lnTo>
                    <a:cubicBezTo>
                      <a:pt x="243300" y="286498"/>
                      <a:pt x="234662" y="293328"/>
                      <a:pt x="224225" y="293328"/>
                    </a:cubicBezTo>
                    <a:lnTo>
                      <a:pt x="69103" y="293328"/>
                    </a:lnTo>
                    <a:cubicBezTo>
                      <a:pt x="58665" y="293328"/>
                      <a:pt x="49667" y="286498"/>
                      <a:pt x="47508" y="276792"/>
                    </a:cubicBezTo>
                    <a:lnTo>
                      <a:pt x="12597" y="139115"/>
                    </a:lnTo>
                    <a:lnTo>
                      <a:pt x="4319" y="139115"/>
                    </a:lnTo>
                    <a:cubicBezTo>
                      <a:pt x="1799" y="139115"/>
                      <a:pt x="0" y="137318"/>
                      <a:pt x="0" y="134801"/>
                    </a:cubicBezTo>
                    <a:cubicBezTo>
                      <a:pt x="0" y="132285"/>
                      <a:pt x="1799" y="130488"/>
                      <a:pt x="4319" y="130488"/>
                    </a:cubicBezTo>
                    <a:lnTo>
                      <a:pt x="13316" y="130488"/>
                    </a:lnTo>
                    <a:lnTo>
                      <a:pt x="64064" y="39182"/>
                    </a:lnTo>
                    <a:cubicBezTo>
                      <a:pt x="59385" y="34869"/>
                      <a:pt x="56506" y="29117"/>
                      <a:pt x="56506" y="22287"/>
                    </a:cubicBezTo>
                    <a:cubicBezTo>
                      <a:pt x="56506" y="10065"/>
                      <a:pt x="66223" y="0"/>
                      <a:pt x="78460" y="0"/>
                    </a:cubicBezTo>
                    <a:close/>
                  </a:path>
                </a:pathLst>
              </a:custGeom>
              <a:solidFill>
                <a:schemeClr val="bg1"/>
              </a:solidFill>
              <a:ln>
                <a:noFill/>
              </a:ln>
            </p:spPr>
            <p:txBody>
              <a:bodyPr anchor="ctr"/>
              <a:lstStyle/>
              <a:p>
                <a:pPr defTabSz="685571">
                  <a:defRPr/>
                </a:pPr>
                <a:endParaRPr lang="en-US" sz="1350" dirty="0">
                  <a:solidFill>
                    <a:srgbClr val="AAAAAA"/>
                  </a:solidFill>
                  <a:latin typeface="Roboto Light" panose="02000000000000000000" pitchFamily="2" charset="0"/>
                  <a:ea typeface="Roboto Light" panose="02000000000000000000" pitchFamily="2" charset="0"/>
                </a:endParaRPr>
              </a:p>
            </p:txBody>
          </p:sp>
        </p:grpSp>
      </p:grpSp>
      <p:sp>
        <p:nvSpPr>
          <p:cNvPr id="89" name="TextBox 88">
            <a:extLst>
              <a:ext uri="{FF2B5EF4-FFF2-40B4-BE49-F238E27FC236}">
                <a16:creationId xmlns:a16="http://schemas.microsoft.com/office/drawing/2014/main" id="{534DA71D-8569-4BB3-8A2D-E039A6A92FCC}"/>
              </a:ext>
            </a:extLst>
          </p:cNvPr>
          <p:cNvSpPr txBox="1"/>
          <p:nvPr/>
        </p:nvSpPr>
        <p:spPr>
          <a:xfrm>
            <a:off x="8127077" y="3429605"/>
            <a:ext cx="1071871" cy="507831"/>
          </a:xfrm>
          <a:prstGeom prst="rect">
            <a:avLst/>
          </a:prstGeom>
          <a:noFill/>
        </p:spPr>
        <p:txBody>
          <a:bodyPr wrap="square" rtlCol="0" anchor="b" anchorCtr="0">
            <a:spAutoFit/>
          </a:bodyPr>
          <a:lstStyle/>
          <a:p>
            <a:pPr algn="ctr" defTabSz="685571">
              <a:defRPr/>
            </a:pPr>
            <a:r>
              <a:rPr lang="en-US" sz="900" dirty="0">
                <a:solidFill>
                  <a:srgbClr val="08204C"/>
                </a:solidFill>
                <a:latin typeface="Tenorite" panose="00000500000000000000" pitchFamily="2" charset="0"/>
                <a:ea typeface="Roboto Light" panose="02000000000000000000" pitchFamily="2" charset="0"/>
                <a:cs typeface="Poppins" pitchFamily="2" charset="77"/>
              </a:rPr>
              <a:t>Trust &amp; Confidence in Traceable Data</a:t>
            </a:r>
          </a:p>
        </p:txBody>
      </p:sp>
      <p:sp>
        <p:nvSpPr>
          <p:cNvPr id="90" name="TextBox 89">
            <a:extLst>
              <a:ext uri="{FF2B5EF4-FFF2-40B4-BE49-F238E27FC236}">
                <a16:creationId xmlns:a16="http://schemas.microsoft.com/office/drawing/2014/main" id="{4ABDD60F-D07D-4E5E-909A-048B9ECF9B35}"/>
              </a:ext>
            </a:extLst>
          </p:cNvPr>
          <p:cNvSpPr txBox="1"/>
          <p:nvPr/>
        </p:nvSpPr>
        <p:spPr>
          <a:xfrm>
            <a:off x="7216896" y="5159394"/>
            <a:ext cx="1177254" cy="507831"/>
          </a:xfrm>
          <a:prstGeom prst="rect">
            <a:avLst/>
          </a:prstGeom>
          <a:noFill/>
        </p:spPr>
        <p:txBody>
          <a:bodyPr wrap="square" rtlCol="0" anchor="b" anchorCtr="0">
            <a:spAutoFit/>
          </a:bodyPr>
          <a:lstStyle/>
          <a:p>
            <a:pPr algn="ctr" defTabSz="685571">
              <a:defRPr/>
            </a:pPr>
            <a:r>
              <a:rPr lang="en-US" sz="900" dirty="0">
                <a:solidFill>
                  <a:srgbClr val="08204C"/>
                </a:solidFill>
                <a:latin typeface="Tenorite" panose="00000500000000000000" pitchFamily="2" charset="0"/>
                <a:ea typeface="Roboto Light" panose="02000000000000000000" pitchFamily="2" charset="0"/>
                <a:cs typeface="Poppins" pitchFamily="2" charset="77"/>
              </a:rPr>
              <a:t>Support Ethical Use of Data in a Data-Driven Culture</a:t>
            </a:r>
          </a:p>
        </p:txBody>
      </p:sp>
      <p:sp>
        <p:nvSpPr>
          <p:cNvPr id="94" name="TextBox 93">
            <a:extLst>
              <a:ext uri="{FF2B5EF4-FFF2-40B4-BE49-F238E27FC236}">
                <a16:creationId xmlns:a16="http://schemas.microsoft.com/office/drawing/2014/main" id="{C295A9D4-38D5-4AB5-AC71-B90B1CAD255E}"/>
              </a:ext>
            </a:extLst>
          </p:cNvPr>
          <p:cNvSpPr txBox="1"/>
          <p:nvPr/>
        </p:nvSpPr>
        <p:spPr>
          <a:xfrm>
            <a:off x="7811605" y="2393373"/>
            <a:ext cx="1209415" cy="646331"/>
          </a:xfrm>
          <a:prstGeom prst="rect">
            <a:avLst/>
          </a:prstGeom>
          <a:noFill/>
        </p:spPr>
        <p:txBody>
          <a:bodyPr wrap="square" rtlCol="0" anchor="b" anchorCtr="0">
            <a:spAutoFit/>
          </a:bodyPr>
          <a:lstStyle/>
          <a:p>
            <a:pPr algn="ctr" defTabSz="685571">
              <a:defRPr/>
            </a:pPr>
            <a:r>
              <a:rPr lang="en-US" sz="900" dirty="0">
                <a:solidFill>
                  <a:srgbClr val="08204C"/>
                </a:solidFill>
                <a:latin typeface="Tenorite" panose="00000500000000000000" pitchFamily="2" charset="0"/>
                <a:ea typeface="Roboto Light" panose="02000000000000000000" pitchFamily="2" charset="0"/>
                <a:cs typeface="Poppins" pitchFamily="2" charset="77"/>
              </a:rPr>
              <a:t>Knowledge &amp; Common Understanding of Data Assets </a:t>
            </a:r>
          </a:p>
        </p:txBody>
      </p:sp>
      <p:sp>
        <p:nvSpPr>
          <p:cNvPr id="96" name="TextBox 95">
            <a:extLst>
              <a:ext uri="{FF2B5EF4-FFF2-40B4-BE49-F238E27FC236}">
                <a16:creationId xmlns:a16="http://schemas.microsoft.com/office/drawing/2014/main" id="{73B055CA-84B3-4320-A4A2-F503CAC8868F}"/>
              </a:ext>
            </a:extLst>
          </p:cNvPr>
          <p:cNvSpPr txBox="1"/>
          <p:nvPr/>
        </p:nvSpPr>
        <p:spPr>
          <a:xfrm>
            <a:off x="7888089" y="4432625"/>
            <a:ext cx="949739" cy="507831"/>
          </a:xfrm>
          <a:prstGeom prst="rect">
            <a:avLst/>
          </a:prstGeom>
          <a:noFill/>
        </p:spPr>
        <p:txBody>
          <a:bodyPr wrap="square" rtlCol="0" anchor="b" anchorCtr="0">
            <a:spAutoFit/>
          </a:bodyPr>
          <a:lstStyle/>
          <a:p>
            <a:pPr algn="ctr" defTabSz="685571">
              <a:defRPr/>
            </a:pPr>
            <a:r>
              <a:rPr lang="en-US" sz="900" dirty="0">
                <a:solidFill>
                  <a:srgbClr val="08204C"/>
                </a:solidFill>
                <a:latin typeface="Tenorite" panose="00000500000000000000" pitchFamily="2" charset="0"/>
                <a:ea typeface="Roboto Light" panose="02000000000000000000" pitchFamily="2" charset="0"/>
                <a:cs typeface="Poppins" pitchFamily="2" charset="77"/>
              </a:rPr>
              <a:t>Improved Data ROI &amp; Reduced Data Debt</a:t>
            </a:r>
          </a:p>
        </p:txBody>
      </p:sp>
      <p:sp>
        <p:nvSpPr>
          <p:cNvPr id="14" name="Arrow: Right 13">
            <a:extLst>
              <a:ext uri="{FF2B5EF4-FFF2-40B4-BE49-F238E27FC236}">
                <a16:creationId xmlns:a16="http://schemas.microsoft.com/office/drawing/2014/main" id="{397B22C4-C711-4F78-A399-13F623E40ED2}"/>
              </a:ext>
            </a:extLst>
          </p:cNvPr>
          <p:cNvSpPr/>
          <p:nvPr/>
        </p:nvSpPr>
        <p:spPr>
          <a:xfrm>
            <a:off x="6496359" y="3518275"/>
            <a:ext cx="1015784" cy="320570"/>
          </a:xfrm>
          <a:prstGeom prst="right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5814">
              <a:defRPr/>
            </a:pPr>
            <a:endParaRPr lang="en-US" sz="819" dirty="0">
              <a:solidFill>
                <a:srgbClr val="FFFFFF"/>
              </a:solidFill>
              <a:latin typeface="Roboto Condensed Light" panose="02000000000000000000" pitchFamily="2" charset="0"/>
            </a:endParaRPr>
          </a:p>
        </p:txBody>
      </p:sp>
      <p:grpSp>
        <p:nvGrpSpPr>
          <p:cNvPr id="15" name="Group 14">
            <a:extLst>
              <a:ext uri="{FF2B5EF4-FFF2-40B4-BE49-F238E27FC236}">
                <a16:creationId xmlns:a16="http://schemas.microsoft.com/office/drawing/2014/main" id="{7157E20B-AB39-4A18-BC9F-245F73C73EEE}"/>
              </a:ext>
            </a:extLst>
          </p:cNvPr>
          <p:cNvGrpSpPr/>
          <p:nvPr/>
        </p:nvGrpSpPr>
        <p:grpSpPr>
          <a:xfrm>
            <a:off x="2646135" y="2055884"/>
            <a:ext cx="3779204" cy="3789965"/>
            <a:chOff x="3526970" y="1407014"/>
            <a:chExt cx="5039595" cy="5053944"/>
          </a:xfrm>
        </p:grpSpPr>
        <p:sp>
          <p:nvSpPr>
            <p:cNvPr id="49" name="Freeform 48">
              <a:extLst>
                <a:ext uri="{FF2B5EF4-FFF2-40B4-BE49-F238E27FC236}">
                  <a16:creationId xmlns:a16="http://schemas.microsoft.com/office/drawing/2014/main" id="{1A3A5CD7-2C21-E643-9FF2-4B8EC8EA28FF}"/>
                </a:ext>
              </a:extLst>
            </p:cNvPr>
            <p:cNvSpPr/>
            <p:nvPr/>
          </p:nvSpPr>
          <p:spPr>
            <a:xfrm>
              <a:off x="5331707" y="1431758"/>
              <a:ext cx="2455727" cy="1692397"/>
            </a:xfrm>
            <a:custGeom>
              <a:avLst/>
              <a:gdLst>
                <a:gd name="connsiteX0" fmla="*/ 1419727 w 4911453"/>
                <a:gd name="connsiteY0" fmla="*/ 0 h 3384793"/>
                <a:gd name="connsiteX1" fmla="*/ 1508755 w 4911453"/>
                <a:gd name="connsiteY1" fmla="*/ 4496 h 3384793"/>
                <a:gd name="connsiteX2" fmla="*/ 1508755 w 4911453"/>
                <a:gd name="connsiteY2" fmla="*/ 2251 h 3384793"/>
                <a:gd name="connsiteX3" fmla="*/ 1678528 w 4911453"/>
                <a:gd name="connsiteY3" fmla="*/ 6544 h 3384793"/>
                <a:gd name="connsiteX4" fmla="*/ 4801246 w 4911453"/>
                <a:gd name="connsiteY4" fmla="*/ 1306495 h 3384793"/>
                <a:gd name="connsiteX5" fmla="*/ 4911453 w 4911453"/>
                <a:gd name="connsiteY5" fmla="*/ 1411568 h 3384793"/>
                <a:gd name="connsiteX6" fmla="*/ 4909775 w 4911453"/>
                <a:gd name="connsiteY6" fmla="*/ 1413246 h 3384793"/>
                <a:gd name="connsiteX7" fmla="*/ 4868081 w 4911453"/>
                <a:gd name="connsiteY7" fmla="*/ 1375560 h 3384793"/>
                <a:gd name="connsiteX8" fmla="*/ 2968110 w 4911453"/>
                <a:gd name="connsiteY8" fmla="*/ 1473020 h 3384793"/>
                <a:gd name="connsiteX9" fmla="*/ 2876361 w 4911453"/>
                <a:gd name="connsiteY9" fmla="*/ 1573890 h 3384793"/>
                <a:gd name="connsiteX10" fmla="*/ 2819094 w 4911453"/>
                <a:gd name="connsiteY10" fmla="*/ 1650267 h 3384793"/>
                <a:gd name="connsiteX11" fmla="*/ 2810610 w 4911453"/>
                <a:gd name="connsiteY11" fmla="*/ 1705852 h 3384793"/>
                <a:gd name="connsiteX12" fmla="*/ 2596987 w 4911453"/>
                <a:gd name="connsiteY12" fmla="*/ 2213510 h 3384793"/>
                <a:gd name="connsiteX13" fmla="*/ 2572121 w 4911453"/>
                <a:gd name="connsiteY13" fmla="*/ 2246763 h 3384793"/>
                <a:gd name="connsiteX14" fmla="*/ 2565708 w 4911453"/>
                <a:gd name="connsiteY14" fmla="*/ 2281556 h 3384793"/>
                <a:gd name="connsiteX15" fmla="*/ 2870650 w 4911453"/>
                <a:gd name="connsiteY15" fmla="*/ 3372991 h 3384793"/>
                <a:gd name="connsiteX16" fmla="*/ 2881317 w 4911453"/>
                <a:gd name="connsiteY16" fmla="*/ 3384793 h 3384793"/>
                <a:gd name="connsiteX17" fmla="*/ 2817559 w 4911453"/>
                <a:gd name="connsiteY17" fmla="*/ 3326846 h 3384793"/>
                <a:gd name="connsiteX18" fmla="*/ 1415693 w 4911453"/>
                <a:gd name="connsiteY18" fmla="*/ 2823589 h 3384793"/>
                <a:gd name="connsiteX19" fmla="*/ 1267631 w 4911453"/>
                <a:gd name="connsiteY19" fmla="*/ 2831066 h 3384793"/>
                <a:gd name="connsiteX20" fmla="*/ 1133602 w 4911453"/>
                <a:gd name="connsiteY20" fmla="*/ 2810611 h 3384793"/>
                <a:gd name="connsiteX21" fmla="*/ 0 w 4911453"/>
                <a:gd name="connsiteY21" fmla="*/ 1419727 h 3384793"/>
                <a:gd name="connsiteX22" fmla="*/ 1419727 w 4911453"/>
                <a:gd name="connsiteY22" fmla="*/ 0 h 338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911453" h="3384793">
                  <a:moveTo>
                    <a:pt x="1419727" y="0"/>
                  </a:moveTo>
                  <a:lnTo>
                    <a:pt x="1508755" y="4496"/>
                  </a:lnTo>
                  <a:lnTo>
                    <a:pt x="1508755" y="2251"/>
                  </a:lnTo>
                  <a:lnTo>
                    <a:pt x="1678528" y="6544"/>
                  </a:lnTo>
                  <a:cubicBezTo>
                    <a:pt x="2878589" y="67375"/>
                    <a:pt x="3967666" y="548864"/>
                    <a:pt x="4801246" y="1306495"/>
                  </a:cubicBezTo>
                  <a:lnTo>
                    <a:pt x="4911453" y="1411568"/>
                  </a:lnTo>
                  <a:lnTo>
                    <a:pt x="4909775" y="1413246"/>
                  </a:lnTo>
                  <a:lnTo>
                    <a:pt x="4868081" y="1375560"/>
                  </a:lnTo>
                  <a:cubicBezTo>
                    <a:pt x="4310449" y="920747"/>
                    <a:pt x="3487896" y="953234"/>
                    <a:pt x="2968110" y="1473020"/>
                  </a:cubicBezTo>
                  <a:cubicBezTo>
                    <a:pt x="2935623" y="1505507"/>
                    <a:pt x="2905040" y="1539176"/>
                    <a:pt x="2876361" y="1573890"/>
                  </a:cubicBezTo>
                  <a:lnTo>
                    <a:pt x="2819094" y="1650267"/>
                  </a:lnTo>
                  <a:lnTo>
                    <a:pt x="2810610" y="1705852"/>
                  </a:lnTo>
                  <a:cubicBezTo>
                    <a:pt x="2772786" y="1890694"/>
                    <a:pt x="2699041" y="2062450"/>
                    <a:pt x="2596987" y="2213510"/>
                  </a:cubicBezTo>
                  <a:lnTo>
                    <a:pt x="2572121" y="2246763"/>
                  </a:lnTo>
                  <a:lnTo>
                    <a:pt x="2565708" y="2281556"/>
                  </a:lnTo>
                  <a:cubicBezTo>
                    <a:pt x="2513171" y="2661833"/>
                    <a:pt x="2614818" y="3059323"/>
                    <a:pt x="2870650" y="3372991"/>
                  </a:cubicBezTo>
                  <a:lnTo>
                    <a:pt x="2881317" y="3384793"/>
                  </a:lnTo>
                  <a:lnTo>
                    <a:pt x="2817559" y="3326846"/>
                  </a:lnTo>
                  <a:cubicBezTo>
                    <a:pt x="2436600" y="3012451"/>
                    <a:pt x="1948202" y="2823589"/>
                    <a:pt x="1415693" y="2823589"/>
                  </a:cubicBezTo>
                  <a:lnTo>
                    <a:pt x="1267631" y="2831066"/>
                  </a:lnTo>
                  <a:lnTo>
                    <a:pt x="1133602" y="2810611"/>
                  </a:lnTo>
                  <a:cubicBezTo>
                    <a:pt x="486657" y="2678226"/>
                    <a:pt x="0" y="2105810"/>
                    <a:pt x="0" y="1419727"/>
                  </a:cubicBezTo>
                  <a:cubicBezTo>
                    <a:pt x="0" y="635633"/>
                    <a:pt x="635633" y="0"/>
                    <a:pt x="1419727" y="0"/>
                  </a:cubicBez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47" name="Freeform 46">
              <a:extLst>
                <a:ext uri="{FF2B5EF4-FFF2-40B4-BE49-F238E27FC236}">
                  <a16:creationId xmlns:a16="http://schemas.microsoft.com/office/drawing/2014/main" id="{E5DB3857-443E-2646-9788-89998D96F5C5}"/>
                </a:ext>
              </a:extLst>
            </p:cNvPr>
            <p:cNvSpPr/>
            <p:nvPr/>
          </p:nvSpPr>
          <p:spPr>
            <a:xfrm>
              <a:off x="6607848" y="1960353"/>
              <a:ext cx="1947196" cy="1941491"/>
            </a:xfrm>
            <a:custGeom>
              <a:avLst/>
              <a:gdLst>
                <a:gd name="connsiteX0" fmla="*/ 1419727 w 3894391"/>
                <a:gd name="connsiteY0" fmla="*/ 0 h 3882982"/>
                <a:gd name="connsiteX1" fmla="*/ 2423625 w 3894391"/>
                <a:gd name="connsiteY1" fmla="*/ 415828 h 3882982"/>
                <a:gd name="connsiteX2" fmla="*/ 2483399 w 3894391"/>
                <a:gd name="connsiteY2" fmla="*/ 481961 h 3882982"/>
                <a:gd name="connsiteX3" fmla="*/ 2485077 w 3894391"/>
                <a:gd name="connsiteY3" fmla="*/ 480283 h 3882982"/>
                <a:gd name="connsiteX4" fmla="*/ 2590149 w 3894391"/>
                <a:gd name="connsiteY4" fmla="*/ 590490 h 3882982"/>
                <a:gd name="connsiteX5" fmla="*/ 3890099 w 3894391"/>
                <a:gd name="connsiteY5" fmla="*/ 3713208 h 3882982"/>
                <a:gd name="connsiteX6" fmla="*/ 3894391 w 3894391"/>
                <a:gd name="connsiteY6" fmla="*/ 3882982 h 3882982"/>
                <a:gd name="connsiteX7" fmla="*/ 3892149 w 3894391"/>
                <a:gd name="connsiteY7" fmla="*/ 3882982 h 3882982"/>
                <a:gd name="connsiteX8" fmla="*/ 3889315 w 3894391"/>
                <a:gd name="connsiteY8" fmla="*/ 3826850 h 3882982"/>
                <a:gd name="connsiteX9" fmla="*/ 2476918 w 3894391"/>
                <a:gd name="connsiteY9" fmla="*/ 2552282 h 3882982"/>
                <a:gd name="connsiteX10" fmla="*/ 2340716 w 3894391"/>
                <a:gd name="connsiteY10" fmla="*/ 2558731 h 3882982"/>
                <a:gd name="connsiteX11" fmla="*/ 2246213 w 3894391"/>
                <a:gd name="connsiteY11" fmla="*/ 2572244 h 3882982"/>
                <a:gd name="connsiteX12" fmla="*/ 2200909 w 3894391"/>
                <a:gd name="connsiteY12" fmla="*/ 2605551 h 3882982"/>
                <a:gd name="connsiteX13" fmla="*/ 1690886 w 3894391"/>
                <a:gd name="connsiteY13" fmla="*/ 2813466 h 3882982"/>
                <a:gd name="connsiteX14" fmla="*/ 1649791 w 3894391"/>
                <a:gd name="connsiteY14" fmla="*/ 2819396 h 3882982"/>
                <a:gd name="connsiteX15" fmla="*/ 1620656 w 3894391"/>
                <a:gd name="connsiteY15" fmla="*/ 2839462 h 3882982"/>
                <a:gd name="connsiteX16" fmla="*/ 1064521 w 3894391"/>
                <a:gd name="connsiteY16" fmla="*/ 3826850 h 3882982"/>
                <a:gd name="connsiteX17" fmla="*/ 1062280 w 3894391"/>
                <a:gd name="connsiteY17" fmla="*/ 3871227 h 3882982"/>
                <a:gd name="connsiteX18" fmla="*/ 1055903 w 3894391"/>
                <a:gd name="connsiteY18" fmla="*/ 3744936 h 3882982"/>
                <a:gd name="connsiteX19" fmla="*/ 421783 w 3894391"/>
                <a:gd name="connsiteY19" fmla="*/ 2411898 h 3882982"/>
                <a:gd name="connsiteX20" fmla="*/ 329042 w 3894391"/>
                <a:gd name="connsiteY20" fmla="*/ 2327610 h 3882982"/>
                <a:gd name="connsiteX21" fmla="*/ 318368 w 3894391"/>
                <a:gd name="connsiteY21" fmla="*/ 2315800 h 3882982"/>
                <a:gd name="connsiteX22" fmla="*/ 415828 w 3894391"/>
                <a:gd name="connsiteY22" fmla="*/ 415828 h 3882982"/>
                <a:gd name="connsiteX23" fmla="*/ 1419727 w 3894391"/>
                <a:gd name="connsiteY23" fmla="*/ 0 h 388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94391" h="3882982">
                  <a:moveTo>
                    <a:pt x="1419727" y="0"/>
                  </a:moveTo>
                  <a:cubicBezTo>
                    <a:pt x="1783066" y="0"/>
                    <a:pt x="2146406" y="138609"/>
                    <a:pt x="2423625" y="415828"/>
                  </a:cubicBezTo>
                  <a:lnTo>
                    <a:pt x="2483399" y="481961"/>
                  </a:lnTo>
                  <a:lnTo>
                    <a:pt x="2485077" y="480283"/>
                  </a:lnTo>
                  <a:lnTo>
                    <a:pt x="2590149" y="590490"/>
                  </a:lnTo>
                  <a:cubicBezTo>
                    <a:pt x="3347780" y="1424070"/>
                    <a:pt x="3829267" y="2513148"/>
                    <a:pt x="3890099" y="3713208"/>
                  </a:cubicBezTo>
                  <a:lnTo>
                    <a:pt x="3894391" y="3882982"/>
                  </a:lnTo>
                  <a:lnTo>
                    <a:pt x="3892149" y="3882982"/>
                  </a:lnTo>
                  <a:lnTo>
                    <a:pt x="3889315" y="3826850"/>
                  </a:lnTo>
                  <a:cubicBezTo>
                    <a:pt x="3816611" y="3110944"/>
                    <a:pt x="3212006" y="2552282"/>
                    <a:pt x="2476918" y="2552282"/>
                  </a:cubicBezTo>
                  <a:cubicBezTo>
                    <a:pt x="2430975" y="2552282"/>
                    <a:pt x="2385542" y="2554465"/>
                    <a:pt x="2340716" y="2558731"/>
                  </a:cubicBezTo>
                  <a:lnTo>
                    <a:pt x="2246213" y="2572244"/>
                  </a:lnTo>
                  <a:lnTo>
                    <a:pt x="2200909" y="2605551"/>
                  </a:lnTo>
                  <a:cubicBezTo>
                    <a:pt x="2043460" y="2709508"/>
                    <a:pt x="1869864" y="2778813"/>
                    <a:pt x="1690886" y="2813466"/>
                  </a:cubicBezTo>
                  <a:lnTo>
                    <a:pt x="1649791" y="2819396"/>
                  </a:lnTo>
                  <a:lnTo>
                    <a:pt x="1620656" y="2839462"/>
                  </a:lnTo>
                  <a:cubicBezTo>
                    <a:pt x="1314610" y="3071209"/>
                    <a:pt x="1105417" y="3424153"/>
                    <a:pt x="1064521" y="3826850"/>
                  </a:cubicBezTo>
                  <a:lnTo>
                    <a:pt x="1062280" y="3871227"/>
                  </a:lnTo>
                  <a:lnTo>
                    <a:pt x="1055903" y="3744936"/>
                  </a:lnTo>
                  <a:cubicBezTo>
                    <a:pt x="1003235" y="3226323"/>
                    <a:pt x="770752" y="2760867"/>
                    <a:pt x="421783" y="2411898"/>
                  </a:cubicBezTo>
                  <a:lnTo>
                    <a:pt x="329042" y="2327610"/>
                  </a:lnTo>
                  <a:lnTo>
                    <a:pt x="318368" y="2315800"/>
                  </a:lnTo>
                  <a:cubicBezTo>
                    <a:pt x="-136444" y="1758169"/>
                    <a:pt x="-103958" y="935615"/>
                    <a:pt x="415828" y="415828"/>
                  </a:cubicBezTo>
                  <a:cubicBezTo>
                    <a:pt x="693047" y="138609"/>
                    <a:pt x="1056387" y="0"/>
                    <a:pt x="1419727"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45" name="Freeform 44">
              <a:extLst>
                <a:ext uri="{FF2B5EF4-FFF2-40B4-BE49-F238E27FC236}">
                  <a16:creationId xmlns:a16="http://schemas.microsoft.com/office/drawing/2014/main" id="{20DABDAD-0455-604A-ADC7-5E4B36343DCC}"/>
                </a:ext>
              </a:extLst>
            </p:cNvPr>
            <p:cNvSpPr/>
            <p:nvPr/>
          </p:nvSpPr>
          <p:spPr>
            <a:xfrm>
              <a:off x="6863826" y="3203213"/>
              <a:ext cx="1702739" cy="2455727"/>
            </a:xfrm>
            <a:custGeom>
              <a:avLst/>
              <a:gdLst>
                <a:gd name="connsiteX0" fmla="*/ 1985750 w 3405477"/>
                <a:gd name="connsiteY0" fmla="*/ 0 h 4911454"/>
                <a:gd name="connsiteX1" fmla="*/ 3405477 w 3405477"/>
                <a:gd name="connsiteY1" fmla="*/ 1419727 h 4911454"/>
                <a:gd name="connsiteX2" fmla="*/ 3400981 w 3405477"/>
                <a:gd name="connsiteY2" fmla="*/ 1508756 h 4911454"/>
                <a:gd name="connsiteX3" fmla="*/ 3403223 w 3405477"/>
                <a:gd name="connsiteY3" fmla="*/ 1508756 h 4911454"/>
                <a:gd name="connsiteX4" fmla="*/ 3398931 w 3405477"/>
                <a:gd name="connsiteY4" fmla="*/ 1678529 h 4911454"/>
                <a:gd name="connsiteX5" fmla="*/ 2098981 w 3405477"/>
                <a:gd name="connsiteY5" fmla="*/ 4801247 h 4911454"/>
                <a:gd name="connsiteX6" fmla="*/ 1993909 w 3405477"/>
                <a:gd name="connsiteY6" fmla="*/ 4911454 h 4911454"/>
                <a:gd name="connsiteX7" fmla="*/ 1992232 w 3405477"/>
                <a:gd name="connsiteY7" fmla="*/ 4909777 h 4911454"/>
                <a:gd name="connsiteX8" fmla="*/ 2029917 w 3405477"/>
                <a:gd name="connsiteY8" fmla="*/ 4868083 h 4911454"/>
                <a:gd name="connsiteX9" fmla="*/ 2109484 w 3405477"/>
                <a:gd name="connsiteY9" fmla="*/ 4760561 h 4911454"/>
                <a:gd name="connsiteX10" fmla="*/ 2111867 w 3405477"/>
                <a:gd name="connsiteY10" fmla="*/ 4756612 h 4911454"/>
                <a:gd name="connsiteX11" fmla="*/ 2114382 w 3405477"/>
                <a:gd name="connsiteY11" fmla="*/ 4753192 h 4911454"/>
                <a:gd name="connsiteX12" fmla="*/ 2135383 w 3405477"/>
                <a:gd name="connsiteY12" fmla="*/ 4717653 h 4911454"/>
                <a:gd name="connsiteX13" fmla="*/ 2177629 w 3405477"/>
                <a:gd name="connsiteY13" fmla="*/ 4647662 h 4911454"/>
                <a:gd name="connsiteX14" fmla="*/ 2181596 w 3405477"/>
                <a:gd name="connsiteY14" fmla="*/ 4639449 h 4911454"/>
                <a:gd name="connsiteX15" fmla="*/ 2185852 w 3405477"/>
                <a:gd name="connsiteY15" fmla="*/ 4632246 h 4911454"/>
                <a:gd name="connsiteX16" fmla="*/ 2204983 w 3405477"/>
                <a:gd name="connsiteY16" fmla="*/ 4591028 h 4911454"/>
                <a:gd name="connsiteX17" fmla="*/ 2234354 w 3405477"/>
                <a:gd name="connsiteY17" fmla="*/ 4530216 h 4911454"/>
                <a:gd name="connsiteX18" fmla="*/ 2239109 w 3405477"/>
                <a:gd name="connsiteY18" fmla="*/ 4517500 h 4911454"/>
                <a:gd name="connsiteX19" fmla="*/ 2244328 w 3405477"/>
                <a:gd name="connsiteY19" fmla="*/ 4506254 h 4911454"/>
                <a:gd name="connsiteX20" fmla="*/ 2259029 w 3405477"/>
                <a:gd name="connsiteY20" fmla="*/ 4464226 h 4911454"/>
                <a:gd name="connsiteX21" fmla="*/ 2279658 w 3405477"/>
                <a:gd name="connsiteY21" fmla="*/ 4409056 h 4911454"/>
                <a:gd name="connsiteX22" fmla="*/ 2284405 w 3405477"/>
                <a:gd name="connsiteY22" fmla="*/ 4391678 h 4911454"/>
                <a:gd name="connsiteX23" fmla="*/ 2289810 w 3405477"/>
                <a:gd name="connsiteY23" fmla="*/ 4376225 h 4911454"/>
                <a:gd name="connsiteX24" fmla="*/ 2299780 w 3405477"/>
                <a:gd name="connsiteY24" fmla="*/ 4335389 h 4911454"/>
                <a:gd name="connsiteX25" fmla="*/ 2313540 w 3405477"/>
                <a:gd name="connsiteY25" fmla="*/ 4285014 h 4911454"/>
                <a:gd name="connsiteX26" fmla="*/ 2317481 w 3405477"/>
                <a:gd name="connsiteY26" fmla="*/ 4262891 h 4911454"/>
                <a:gd name="connsiteX27" fmla="*/ 2322296 w 3405477"/>
                <a:gd name="connsiteY27" fmla="*/ 4243169 h 4911454"/>
                <a:gd name="connsiteX28" fmla="*/ 2327851 w 3405477"/>
                <a:gd name="connsiteY28" fmla="*/ 4204677 h 4911454"/>
                <a:gd name="connsiteX29" fmla="*/ 2336002 w 3405477"/>
                <a:gd name="connsiteY29" fmla="*/ 4158920 h 4911454"/>
                <a:gd name="connsiteX30" fmla="*/ 2338333 w 3405477"/>
                <a:gd name="connsiteY30" fmla="*/ 4132041 h 4911454"/>
                <a:gd name="connsiteX31" fmla="*/ 2341788 w 3405477"/>
                <a:gd name="connsiteY31" fmla="*/ 4108094 h 4911454"/>
                <a:gd name="connsiteX32" fmla="*/ 2343478 w 3405477"/>
                <a:gd name="connsiteY32" fmla="*/ 4072710 h 4911454"/>
                <a:gd name="connsiteX33" fmla="*/ 2347042 w 3405477"/>
                <a:gd name="connsiteY33" fmla="*/ 4031607 h 4911454"/>
                <a:gd name="connsiteX34" fmla="*/ 2346948 w 3405477"/>
                <a:gd name="connsiteY34" fmla="*/ 4000027 h 4911454"/>
                <a:gd name="connsiteX35" fmla="*/ 2348286 w 3405477"/>
                <a:gd name="connsiteY35" fmla="*/ 3972010 h 4911454"/>
                <a:gd name="connsiteX36" fmla="*/ 2346770 w 3405477"/>
                <a:gd name="connsiteY36" fmla="*/ 3940261 h 4911454"/>
                <a:gd name="connsiteX37" fmla="*/ 2346661 w 3405477"/>
                <a:gd name="connsiteY37" fmla="*/ 3903905 h 4911454"/>
                <a:gd name="connsiteX38" fmla="*/ 2343307 w 3405477"/>
                <a:gd name="connsiteY38" fmla="*/ 3867736 h 4911454"/>
                <a:gd name="connsiteX39" fmla="*/ 2341788 w 3405477"/>
                <a:gd name="connsiteY39" fmla="*/ 3835925 h 4911454"/>
                <a:gd name="connsiteX40" fmla="*/ 2337783 w 3405477"/>
                <a:gd name="connsiteY40" fmla="*/ 3808169 h 4911454"/>
                <a:gd name="connsiteX41" fmla="*/ 2334860 w 3405477"/>
                <a:gd name="connsiteY41" fmla="*/ 3776647 h 4911454"/>
                <a:gd name="connsiteX42" fmla="*/ 2327374 w 3405477"/>
                <a:gd name="connsiteY42" fmla="*/ 3736040 h 4911454"/>
                <a:gd name="connsiteX43" fmla="*/ 2322296 w 3405477"/>
                <a:gd name="connsiteY43" fmla="*/ 3700850 h 4911454"/>
                <a:gd name="connsiteX44" fmla="*/ 2316547 w 3405477"/>
                <a:gd name="connsiteY44" fmla="*/ 3677304 h 4911454"/>
                <a:gd name="connsiteX45" fmla="*/ 2311637 w 3405477"/>
                <a:gd name="connsiteY45" fmla="*/ 3650664 h 4911454"/>
                <a:gd name="connsiteX46" fmla="*/ 2299085 w 3405477"/>
                <a:gd name="connsiteY46" fmla="*/ 3605784 h 4911454"/>
                <a:gd name="connsiteX47" fmla="*/ 2289810 w 3405477"/>
                <a:gd name="connsiteY47" fmla="*/ 3567794 h 4911454"/>
                <a:gd name="connsiteX48" fmla="*/ 2283080 w 3405477"/>
                <a:gd name="connsiteY48" fmla="*/ 3548554 h 4911454"/>
                <a:gd name="connsiteX49" fmla="*/ 2276993 w 3405477"/>
                <a:gd name="connsiteY49" fmla="*/ 3526788 h 4911454"/>
                <a:gd name="connsiteX50" fmla="*/ 2258314 w 3405477"/>
                <a:gd name="connsiteY50" fmla="*/ 3477750 h 4911454"/>
                <a:gd name="connsiteX51" fmla="*/ 2244328 w 3405477"/>
                <a:gd name="connsiteY51" fmla="*/ 3437765 h 4911454"/>
                <a:gd name="connsiteX52" fmla="*/ 2237389 w 3405477"/>
                <a:gd name="connsiteY52" fmla="*/ 3422814 h 4911454"/>
                <a:gd name="connsiteX53" fmla="*/ 2230928 w 3405477"/>
                <a:gd name="connsiteY53" fmla="*/ 3405850 h 4911454"/>
                <a:gd name="connsiteX54" fmla="*/ 2204793 w 3405477"/>
                <a:gd name="connsiteY54" fmla="*/ 3352583 h 4911454"/>
                <a:gd name="connsiteX55" fmla="*/ 2185852 w 3405477"/>
                <a:gd name="connsiteY55" fmla="*/ 3311773 h 4911454"/>
                <a:gd name="connsiteX56" fmla="*/ 2179480 w 3405477"/>
                <a:gd name="connsiteY56" fmla="*/ 3300989 h 4911454"/>
                <a:gd name="connsiteX57" fmla="*/ 2173442 w 3405477"/>
                <a:gd name="connsiteY57" fmla="*/ 3288682 h 4911454"/>
                <a:gd name="connsiteX58" fmla="*/ 2137822 w 3405477"/>
                <a:gd name="connsiteY58" fmla="*/ 3230494 h 4911454"/>
                <a:gd name="connsiteX59" fmla="*/ 2114382 w 3405477"/>
                <a:gd name="connsiteY59" fmla="*/ 3190827 h 4911454"/>
                <a:gd name="connsiteX60" fmla="*/ 2109354 w 3405477"/>
                <a:gd name="connsiteY60" fmla="*/ 3183988 h 4911454"/>
                <a:gd name="connsiteX61" fmla="*/ 2104535 w 3405477"/>
                <a:gd name="connsiteY61" fmla="*/ 3176115 h 4911454"/>
                <a:gd name="connsiteX62" fmla="*/ 2054834 w 3405477"/>
                <a:gd name="connsiteY62" fmla="*/ 3109830 h 4911454"/>
                <a:gd name="connsiteX63" fmla="*/ 2029917 w 3405477"/>
                <a:gd name="connsiteY63" fmla="*/ 3075937 h 4911454"/>
                <a:gd name="connsiteX64" fmla="*/ 2027011 w 3405477"/>
                <a:gd name="connsiteY64" fmla="*/ 3072722 h 4911454"/>
                <a:gd name="connsiteX65" fmla="*/ 2024206 w 3405477"/>
                <a:gd name="connsiteY65" fmla="*/ 3068981 h 4911454"/>
                <a:gd name="connsiteX66" fmla="*/ 1932595 w 3405477"/>
                <a:gd name="connsiteY66" fmla="*/ 2968264 h 4911454"/>
                <a:gd name="connsiteX67" fmla="*/ 1932457 w 3405477"/>
                <a:gd name="connsiteY67" fmla="*/ 2968111 h 4911454"/>
                <a:gd name="connsiteX68" fmla="*/ 1932289 w 3405477"/>
                <a:gd name="connsiteY68" fmla="*/ 2967959 h 4911454"/>
                <a:gd name="connsiteX69" fmla="*/ 1831588 w 3405477"/>
                <a:gd name="connsiteY69" fmla="*/ 2876363 h 4911454"/>
                <a:gd name="connsiteX70" fmla="*/ 1827848 w 3405477"/>
                <a:gd name="connsiteY70" fmla="*/ 2873559 h 4911454"/>
                <a:gd name="connsiteX71" fmla="*/ 1824631 w 3405477"/>
                <a:gd name="connsiteY71" fmla="*/ 2870651 h 4911454"/>
                <a:gd name="connsiteX72" fmla="*/ 1790715 w 3405477"/>
                <a:gd name="connsiteY72" fmla="*/ 2845717 h 4911454"/>
                <a:gd name="connsiteX73" fmla="*/ 1755207 w 3405477"/>
                <a:gd name="connsiteY73" fmla="*/ 2819093 h 4911454"/>
                <a:gd name="connsiteX74" fmla="*/ 1754316 w 3405477"/>
                <a:gd name="connsiteY74" fmla="*/ 2818957 h 4911454"/>
                <a:gd name="connsiteX75" fmla="*/ 1709741 w 3405477"/>
                <a:gd name="connsiteY75" fmla="*/ 2786186 h 4911454"/>
                <a:gd name="connsiteX76" fmla="*/ 1199717 w 3405477"/>
                <a:gd name="connsiteY76" fmla="*/ 2578271 h 4911454"/>
                <a:gd name="connsiteX77" fmla="*/ 1159100 w 3405477"/>
                <a:gd name="connsiteY77" fmla="*/ 2572410 h 4911454"/>
                <a:gd name="connsiteX78" fmla="*/ 1158716 w 3405477"/>
                <a:gd name="connsiteY78" fmla="*/ 2572123 h 4911454"/>
                <a:gd name="connsiteX79" fmla="*/ 1123922 w 3405477"/>
                <a:gd name="connsiteY79" fmla="*/ 2565709 h 4911454"/>
                <a:gd name="connsiteX80" fmla="*/ 1095521 w 3405477"/>
                <a:gd name="connsiteY80" fmla="*/ 2563235 h 4911454"/>
                <a:gd name="connsiteX81" fmla="*/ 1064642 w 3405477"/>
                <a:gd name="connsiteY81" fmla="*/ 2558779 h 4911454"/>
                <a:gd name="connsiteX82" fmla="*/ 1019759 w 3405477"/>
                <a:gd name="connsiteY82" fmla="*/ 2556637 h 4911454"/>
                <a:gd name="connsiteX83" fmla="*/ 980709 w 3405477"/>
                <a:gd name="connsiteY83" fmla="*/ 2553235 h 4911454"/>
                <a:gd name="connsiteX84" fmla="*/ 955733 w 3405477"/>
                <a:gd name="connsiteY84" fmla="*/ 2553580 h 4911454"/>
                <a:gd name="connsiteX85" fmla="*/ 928558 w 3405477"/>
                <a:gd name="connsiteY85" fmla="*/ 2552282 h 4911454"/>
                <a:gd name="connsiteX86" fmla="*/ 879309 w 3405477"/>
                <a:gd name="connsiteY86" fmla="*/ 2554634 h 4911454"/>
                <a:gd name="connsiteX87" fmla="*/ 837065 w 3405477"/>
                <a:gd name="connsiteY87" fmla="*/ 2555216 h 4911454"/>
                <a:gd name="connsiteX88" fmla="*/ 815746 w 3405477"/>
                <a:gd name="connsiteY88" fmla="*/ 2557668 h 4911454"/>
                <a:gd name="connsiteX89" fmla="*/ 792474 w 3405477"/>
                <a:gd name="connsiteY89" fmla="*/ 2558779 h 4911454"/>
                <a:gd name="connsiteX90" fmla="*/ 739005 w 3405477"/>
                <a:gd name="connsiteY90" fmla="*/ 2566495 h 4911454"/>
                <a:gd name="connsiteX91" fmla="*/ 694176 w 3405477"/>
                <a:gd name="connsiteY91" fmla="*/ 2571652 h 4911454"/>
                <a:gd name="connsiteX92" fmla="*/ 676640 w 3405477"/>
                <a:gd name="connsiteY92" fmla="*/ 2575495 h 4911454"/>
                <a:gd name="connsiteX93" fmla="*/ 657399 w 3405477"/>
                <a:gd name="connsiteY93" fmla="*/ 2578271 h 4911454"/>
                <a:gd name="connsiteX94" fmla="*/ 599786 w 3405477"/>
                <a:gd name="connsiteY94" fmla="*/ 2592338 h 4911454"/>
                <a:gd name="connsiteX95" fmla="*/ 553226 w 3405477"/>
                <a:gd name="connsiteY95" fmla="*/ 2602542 h 4911454"/>
                <a:gd name="connsiteX96" fmla="*/ 539507 w 3405477"/>
                <a:gd name="connsiteY96" fmla="*/ 2607056 h 4911454"/>
                <a:gd name="connsiteX97" fmla="*/ 524343 w 3405477"/>
                <a:gd name="connsiteY97" fmla="*/ 2610758 h 4911454"/>
                <a:gd name="connsiteX98" fmla="*/ 462436 w 3405477"/>
                <a:gd name="connsiteY98" fmla="*/ 2632412 h 4911454"/>
                <a:gd name="connsiteX99" fmla="*/ 415397 w 3405477"/>
                <a:gd name="connsiteY99" fmla="*/ 2647888 h 4911454"/>
                <a:gd name="connsiteX100" fmla="*/ 405431 w 3405477"/>
                <a:gd name="connsiteY100" fmla="*/ 2652351 h 4911454"/>
                <a:gd name="connsiteX101" fmla="*/ 394314 w 3405477"/>
                <a:gd name="connsiteY101" fmla="*/ 2656240 h 4911454"/>
                <a:gd name="connsiteX102" fmla="*/ 327243 w 3405477"/>
                <a:gd name="connsiteY102" fmla="*/ 2687369 h 4911454"/>
                <a:gd name="connsiteX103" fmla="*/ 281875 w 3405477"/>
                <a:gd name="connsiteY103" fmla="*/ 2707688 h 4911454"/>
                <a:gd name="connsiteX104" fmla="*/ 275508 w 3405477"/>
                <a:gd name="connsiteY104" fmla="*/ 2711380 h 4911454"/>
                <a:gd name="connsiteX105" fmla="*/ 268322 w 3405477"/>
                <a:gd name="connsiteY105" fmla="*/ 2714715 h 4911454"/>
                <a:gd name="connsiteX106" fmla="*/ 192358 w 3405477"/>
                <a:gd name="connsiteY106" fmla="*/ 2759605 h 4911454"/>
                <a:gd name="connsiteX107" fmla="*/ 153843 w 3405477"/>
                <a:gd name="connsiteY107" fmla="*/ 2781942 h 4911454"/>
                <a:gd name="connsiteX108" fmla="*/ 150830 w 3405477"/>
                <a:gd name="connsiteY108" fmla="*/ 2784145 h 4911454"/>
                <a:gd name="connsiteX109" fmla="*/ 147376 w 3405477"/>
                <a:gd name="connsiteY109" fmla="*/ 2786186 h 4911454"/>
                <a:gd name="connsiteX110" fmla="*/ 32486 w 3405477"/>
                <a:gd name="connsiteY110" fmla="*/ 2870651 h 4911454"/>
                <a:gd name="connsiteX111" fmla="*/ 0 w 3405477"/>
                <a:gd name="connsiteY111" fmla="*/ 2900014 h 4911454"/>
                <a:gd name="connsiteX112" fmla="*/ 72856 w 3405477"/>
                <a:gd name="connsiteY112" fmla="*/ 2819852 h 4911454"/>
                <a:gd name="connsiteX113" fmla="*/ 576113 w 3405477"/>
                <a:gd name="connsiteY113" fmla="*/ 1417986 h 4911454"/>
                <a:gd name="connsiteX114" fmla="*/ 571112 w 3405477"/>
                <a:gd name="connsiteY114" fmla="*/ 1318948 h 4911454"/>
                <a:gd name="connsiteX115" fmla="*/ 573353 w 3405477"/>
                <a:gd name="connsiteY115" fmla="*/ 1274568 h 4911454"/>
                <a:gd name="connsiteX116" fmla="*/ 1985750 w 3405477"/>
                <a:gd name="connsiteY116" fmla="*/ 0 h 49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405477" h="4911454">
                  <a:moveTo>
                    <a:pt x="1985750" y="0"/>
                  </a:moveTo>
                  <a:cubicBezTo>
                    <a:pt x="2769844" y="0"/>
                    <a:pt x="3405477" y="635633"/>
                    <a:pt x="3405477" y="1419727"/>
                  </a:cubicBezTo>
                  <a:lnTo>
                    <a:pt x="3400981" y="1508756"/>
                  </a:lnTo>
                  <a:lnTo>
                    <a:pt x="3403223" y="1508756"/>
                  </a:lnTo>
                  <a:lnTo>
                    <a:pt x="3398931" y="1678529"/>
                  </a:lnTo>
                  <a:cubicBezTo>
                    <a:pt x="3338099" y="2878590"/>
                    <a:pt x="2856612" y="3967667"/>
                    <a:pt x="2098981" y="4801247"/>
                  </a:cubicBezTo>
                  <a:lnTo>
                    <a:pt x="1993909" y="4911454"/>
                  </a:lnTo>
                  <a:lnTo>
                    <a:pt x="1992232" y="4909777"/>
                  </a:lnTo>
                  <a:lnTo>
                    <a:pt x="2029917" y="4868083"/>
                  </a:lnTo>
                  <a:cubicBezTo>
                    <a:pt x="2058343" y="4833231"/>
                    <a:pt x="2084865" y="4797344"/>
                    <a:pt x="2109484" y="4760561"/>
                  </a:cubicBezTo>
                  <a:lnTo>
                    <a:pt x="2111867" y="4756612"/>
                  </a:lnTo>
                  <a:lnTo>
                    <a:pt x="2114382" y="4753192"/>
                  </a:lnTo>
                  <a:lnTo>
                    <a:pt x="2135383" y="4717653"/>
                  </a:lnTo>
                  <a:lnTo>
                    <a:pt x="2177629" y="4647662"/>
                  </a:lnTo>
                  <a:lnTo>
                    <a:pt x="2181596" y="4639449"/>
                  </a:lnTo>
                  <a:lnTo>
                    <a:pt x="2185852" y="4632246"/>
                  </a:lnTo>
                  <a:lnTo>
                    <a:pt x="2204983" y="4591028"/>
                  </a:lnTo>
                  <a:lnTo>
                    <a:pt x="2234354" y="4530216"/>
                  </a:lnTo>
                  <a:lnTo>
                    <a:pt x="2239109" y="4517500"/>
                  </a:lnTo>
                  <a:lnTo>
                    <a:pt x="2244328" y="4506254"/>
                  </a:lnTo>
                  <a:lnTo>
                    <a:pt x="2259029" y="4464226"/>
                  </a:lnTo>
                  <a:lnTo>
                    <a:pt x="2279658" y="4409056"/>
                  </a:lnTo>
                  <a:lnTo>
                    <a:pt x="2284405" y="4391678"/>
                  </a:lnTo>
                  <a:lnTo>
                    <a:pt x="2289810" y="4376225"/>
                  </a:lnTo>
                  <a:lnTo>
                    <a:pt x="2299780" y="4335389"/>
                  </a:lnTo>
                  <a:lnTo>
                    <a:pt x="2313540" y="4285014"/>
                  </a:lnTo>
                  <a:lnTo>
                    <a:pt x="2317481" y="4262891"/>
                  </a:lnTo>
                  <a:lnTo>
                    <a:pt x="2322296" y="4243169"/>
                  </a:lnTo>
                  <a:lnTo>
                    <a:pt x="2327851" y="4204677"/>
                  </a:lnTo>
                  <a:lnTo>
                    <a:pt x="2336002" y="4158920"/>
                  </a:lnTo>
                  <a:lnTo>
                    <a:pt x="2338333" y="4132041"/>
                  </a:lnTo>
                  <a:lnTo>
                    <a:pt x="2341788" y="4108094"/>
                  </a:lnTo>
                  <a:lnTo>
                    <a:pt x="2343478" y="4072710"/>
                  </a:lnTo>
                  <a:lnTo>
                    <a:pt x="2347042" y="4031607"/>
                  </a:lnTo>
                  <a:lnTo>
                    <a:pt x="2346948" y="4000027"/>
                  </a:lnTo>
                  <a:lnTo>
                    <a:pt x="2348286" y="3972010"/>
                  </a:lnTo>
                  <a:lnTo>
                    <a:pt x="2346770" y="3940261"/>
                  </a:lnTo>
                  <a:lnTo>
                    <a:pt x="2346661" y="3903905"/>
                  </a:lnTo>
                  <a:lnTo>
                    <a:pt x="2343307" y="3867736"/>
                  </a:lnTo>
                  <a:lnTo>
                    <a:pt x="2341788" y="3835925"/>
                  </a:lnTo>
                  <a:lnTo>
                    <a:pt x="2337783" y="3808169"/>
                  </a:lnTo>
                  <a:lnTo>
                    <a:pt x="2334860" y="3776647"/>
                  </a:lnTo>
                  <a:lnTo>
                    <a:pt x="2327374" y="3736040"/>
                  </a:lnTo>
                  <a:lnTo>
                    <a:pt x="2322296" y="3700850"/>
                  </a:lnTo>
                  <a:lnTo>
                    <a:pt x="2316547" y="3677304"/>
                  </a:lnTo>
                  <a:lnTo>
                    <a:pt x="2311637" y="3650664"/>
                  </a:lnTo>
                  <a:lnTo>
                    <a:pt x="2299085" y="3605784"/>
                  </a:lnTo>
                  <a:lnTo>
                    <a:pt x="2289810" y="3567794"/>
                  </a:lnTo>
                  <a:lnTo>
                    <a:pt x="2283080" y="3548554"/>
                  </a:lnTo>
                  <a:lnTo>
                    <a:pt x="2276993" y="3526788"/>
                  </a:lnTo>
                  <a:lnTo>
                    <a:pt x="2258314" y="3477750"/>
                  </a:lnTo>
                  <a:lnTo>
                    <a:pt x="2244328" y="3437765"/>
                  </a:lnTo>
                  <a:lnTo>
                    <a:pt x="2237389" y="3422814"/>
                  </a:lnTo>
                  <a:lnTo>
                    <a:pt x="2230928" y="3405850"/>
                  </a:lnTo>
                  <a:lnTo>
                    <a:pt x="2204793" y="3352583"/>
                  </a:lnTo>
                  <a:lnTo>
                    <a:pt x="2185852" y="3311773"/>
                  </a:lnTo>
                  <a:lnTo>
                    <a:pt x="2179480" y="3300989"/>
                  </a:lnTo>
                  <a:lnTo>
                    <a:pt x="2173442" y="3288682"/>
                  </a:lnTo>
                  <a:lnTo>
                    <a:pt x="2137822" y="3230494"/>
                  </a:lnTo>
                  <a:lnTo>
                    <a:pt x="2114382" y="3190827"/>
                  </a:lnTo>
                  <a:lnTo>
                    <a:pt x="2109354" y="3183988"/>
                  </a:lnTo>
                  <a:lnTo>
                    <a:pt x="2104535" y="3176115"/>
                  </a:lnTo>
                  <a:lnTo>
                    <a:pt x="2054834" y="3109830"/>
                  </a:lnTo>
                  <a:lnTo>
                    <a:pt x="2029917" y="3075937"/>
                  </a:lnTo>
                  <a:lnTo>
                    <a:pt x="2027011" y="3072722"/>
                  </a:lnTo>
                  <a:lnTo>
                    <a:pt x="2024206" y="3068981"/>
                  </a:lnTo>
                  <a:lnTo>
                    <a:pt x="1932595" y="2968264"/>
                  </a:lnTo>
                  <a:lnTo>
                    <a:pt x="1932457" y="2968111"/>
                  </a:lnTo>
                  <a:lnTo>
                    <a:pt x="1932289" y="2967959"/>
                  </a:lnTo>
                  <a:lnTo>
                    <a:pt x="1831588" y="2876363"/>
                  </a:lnTo>
                  <a:lnTo>
                    <a:pt x="1827848" y="2873559"/>
                  </a:lnTo>
                  <a:lnTo>
                    <a:pt x="1824631" y="2870651"/>
                  </a:lnTo>
                  <a:lnTo>
                    <a:pt x="1790715" y="2845717"/>
                  </a:lnTo>
                  <a:lnTo>
                    <a:pt x="1755207" y="2819093"/>
                  </a:lnTo>
                  <a:lnTo>
                    <a:pt x="1754316" y="2818957"/>
                  </a:lnTo>
                  <a:lnTo>
                    <a:pt x="1709741" y="2786186"/>
                  </a:lnTo>
                  <a:cubicBezTo>
                    <a:pt x="1552292" y="2682229"/>
                    <a:pt x="1378696" y="2612924"/>
                    <a:pt x="1199717" y="2578271"/>
                  </a:cubicBezTo>
                  <a:lnTo>
                    <a:pt x="1159100" y="2572410"/>
                  </a:lnTo>
                  <a:lnTo>
                    <a:pt x="1158716" y="2572123"/>
                  </a:lnTo>
                  <a:lnTo>
                    <a:pt x="1123922" y="2565709"/>
                  </a:lnTo>
                  <a:lnTo>
                    <a:pt x="1095521" y="2563235"/>
                  </a:lnTo>
                  <a:lnTo>
                    <a:pt x="1064642" y="2558779"/>
                  </a:lnTo>
                  <a:lnTo>
                    <a:pt x="1019759" y="2556637"/>
                  </a:lnTo>
                  <a:lnTo>
                    <a:pt x="980709" y="2553235"/>
                  </a:lnTo>
                  <a:lnTo>
                    <a:pt x="955733" y="2553580"/>
                  </a:lnTo>
                  <a:lnTo>
                    <a:pt x="928558" y="2552282"/>
                  </a:lnTo>
                  <a:lnTo>
                    <a:pt x="879309" y="2554634"/>
                  </a:lnTo>
                  <a:lnTo>
                    <a:pt x="837065" y="2555216"/>
                  </a:lnTo>
                  <a:lnTo>
                    <a:pt x="815746" y="2557668"/>
                  </a:lnTo>
                  <a:lnTo>
                    <a:pt x="792474" y="2558779"/>
                  </a:lnTo>
                  <a:lnTo>
                    <a:pt x="739005" y="2566495"/>
                  </a:lnTo>
                  <a:lnTo>
                    <a:pt x="694176" y="2571652"/>
                  </a:lnTo>
                  <a:lnTo>
                    <a:pt x="676640" y="2575495"/>
                  </a:lnTo>
                  <a:lnTo>
                    <a:pt x="657399" y="2578271"/>
                  </a:lnTo>
                  <a:lnTo>
                    <a:pt x="599786" y="2592338"/>
                  </a:lnTo>
                  <a:lnTo>
                    <a:pt x="553226" y="2602542"/>
                  </a:lnTo>
                  <a:lnTo>
                    <a:pt x="539507" y="2607056"/>
                  </a:lnTo>
                  <a:lnTo>
                    <a:pt x="524343" y="2610758"/>
                  </a:lnTo>
                  <a:lnTo>
                    <a:pt x="462436" y="2632412"/>
                  </a:lnTo>
                  <a:lnTo>
                    <a:pt x="415397" y="2647888"/>
                  </a:lnTo>
                  <a:lnTo>
                    <a:pt x="405431" y="2652351"/>
                  </a:lnTo>
                  <a:lnTo>
                    <a:pt x="394314" y="2656240"/>
                  </a:lnTo>
                  <a:lnTo>
                    <a:pt x="327243" y="2687369"/>
                  </a:lnTo>
                  <a:lnTo>
                    <a:pt x="281875" y="2707688"/>
                  </a:lnTo>
                  <a:lnTo>
                    <a:pt x="275508" y="2711380"/>
                  </a:lnTo>
                  <a:lnTo>
                    <a:pt x="268322" y="2714715"/>
                  </a:lnTo>
                  <a:lnTo>
                    <a:pt x="192358" y="2759605"/>
                  </a:lnTo>
                  <a:lnTo>
                    <a:pt x="153843" y="2781942"/>
                  </a:lnTo>
                  <a:lnTo>
                    <a:pt x="150830" y="2784145"/>
                  </a:lnTo>
                  <a:lnTo>
                    <a:pt x="147376" y="2786186"/>
                  </a:lnTo>
                  <a:cubicBezTo>
                    <a:pt x="108014" y="2812175"/>
                    <a:pt x="69661" y="2840330"/>
                    <a:pt x="32486" y="2870651"/>
                  </a:cubicBezTo>
                  <a:lnTo>
                    <a:pt x="0" y="2900014"/>
                  </a:lnTo>
                  <a:lnTo>
                    <a:pt x="72856" y="2819852"/>
                  </a:lnTo>
                  <a:cubicBezTo>
                    <a:pt x="387251" y="2438893"/>
                    <a:pt x="576113" y="1950495"/>
                    <a:pt x="576113" y="1417986"/>
                  </a:cubicBezTo>
                  <a:lnTo>
                    <a:pt x="571112" y="1318948"/>
                  </a:lnTo>
                  <a:lnTo>
                    <a:pt x="573353" y="1274568"/>
                  </a:lnTo>
                  <a:cubicBezTo>
                    <a:pt x="646057" y="558662"/>
                    <a:pt x="1250662" y="0"/>
                    <a:pt x="1985750" y="0"/>
                  </a:cubicBezTo>
                  <a:close/>
                </a:path>
              </a:pathLst>
            </a:custGeom>
            <a:solidFill>
              <a:srgbClr val="F4AA3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43" name="Freeform 42">
              <a:extLst>
                <a:ext uri="{FF2B5EF4-FFF2-40B4-BE49-F238E27FC236}">
                  <a16:creationId xmlns:a16="http://schemas.microsoft.com/office/drawing/2014/main" id="{B9022DA4-173A-5440-9BD5-BA1F022179A4}"/>
                </a:ext>
              </a:extLst>
            </p:cNvPr>
            <p:cNvSpPr/>
            <p:nvPr/>
          </p:nvSpPr>
          <p:spPr>
            <a:xfrm>
              <a:off x="6086085" y="4512636"/>
              <a:ext cx="1941490" cy="1947197"/>
            </a:xfrm>
            <a:custGeom>
              <a:avLst/>
              <a:gdLst>
                <a:gd name="connsiteX0" fmla="*/ 2463253 w 3882980"/>
                <a:gd name="connsiteY0" fmla="*/ 0 h 3894394"/>
                <a:gd name="connsiteX1" fmla="*/ 3467152 w 3882980"/>
                <a:gd name="connsiteY1" fmla="*/ 415829 h 3894394"/>
                <a:gd name="connsiteX2" fmla="*/ 3467152 w 3882980"/>
                <a:gd name="connsiteY2" fmla="*/ 2423626 h 3894394"/>
                <a:gd name="connsiteX3" fmla="*/ 3401021 w 3882980"/>
                <a:gd name="connsiteY3" fmla="*/ 2483400 h 3894394"/>
                <a:gd name="connsiteX4" fmla="*/ 3402698 w 3882980"/>
                <a:gd name="connsiteY4" fmla="*/ 2485077 h 3894394"/>
                <a:gd name="connsiteX5" fmla="*/ 3292491 w 3882980"/>
                <a:gd name="connsiteY5" fmla="*/ 2590150 h 3894394"/>
                <a:gd name="connsiteX6" fmla="*/ 169773 w 3882980"/>
                <a:gd name="connsiteY6" fmla="*/ 3890101 h 3894394"/>
                <a:gd name="connsiteX7" fmla="*/ 0 w 3882980"/>
                <a:gd name="connsiteY7" fmla="*/ 3894394 h 3894394"/>
                <a:gd name="connsiteX8" fmla="*/ 0 w 3882980"/>
                <a:gd name="connsiteY8" fmla="*/ 3892149 h 3894394"/>
                <a:gd name="connsiteX9" fmla="*/ 56130 w 3882980"/>
                <a:gd name="connsiteY9" fmla="*/ 3889315 h 3894394"/>
                <a:gd name="connsiteX10" fmla="*/ 56131 w 3882980"/>
                <a:gd name="connsiteY10" fmla="*/ 3889315 h 3894394"/>
                <a:gd name="connsiteX11" fmla="*/ 188423 w 3882980"/>
                <a:gd name="connsiteY11" fmla="*/ 3869548 h 3894394"/>
                <a:gd name="connsiteX12" fmla="*/ 192894 w 3882980"/>
                <a:gd name="connsiteY12" fmla="*/ 3868442 h 3894394"/>
                <a:gd name="connsiteX13" fmla="*/ 197096 w 3882980"/>
                <a:gd name="connsiteY13" fmla="*/ 3867801 h 3894394"/>
                <a:gd name="connsiteX14" fmla="*/ 237113 w 3882980"/>
                <a:gd name="connsiteY14" fmla="*/ 3857512 h 3894394"/>
                <a:gd name="connsiteX15" fmla="*/ 316441 w 3882980"/>
                <a:gd name="connsiteY15" fmla="*/ 3837902 h 3894394"/>
                <a:gd name="connsiteX16" fmla="*/ 325050 w 3882980"/>
                <a:gd name="connsiteY16" fmla="*/ 3834901 h 3894394"/>
                <a:gd name="connsiteX17" fmla="*/ 333155 w 3882980"/>
                <a:gd name="connsiteY17" fmla="*/ 3832817 h 3894394"/>
                <a:gd name="connsiteX18" fmla="*/ 375837 w 3882980"/>
                <a:gd name="connsiteY18" fmla="*/ 3817195 h 3894394"/>
                <a:gd name="connsiteX19" fmla="*/ 439598 w 3882980"/>
                <a:gd name="connsiteY19" fmla="*/ 3794966 h 3894394"/>
                <a:gd name="connsiteX20" fmla="*/ 451950 w 3882980"/>
                <a:gd name="connsiteY20" fmla="*/ 3789337 h 3894394"/>
                <a:gd name="connsiteX21" fmla="*/ 463593 w 3882980"/>
                <a:gd name="connsiteY21" fmla="*/ 3785076 h 3894394"/>
                <a:gd name="connsiteX22" fmla="*/ 503706 w 3882980"/>
                <a:gd name="connsiteY22" fmla="*/ 3765753 h 3894394"/>
                <a:gd name="connsiteX23" fmla="*/ 557305 w 3882980"/>
                <a:gd name="connsiteY23" fmla="*/ 3741328 h 3894394"/>
                <a:gd name="connsiteX24" fmla="*/ 572951 w 3882980"/>
                <a:gd name="connsiteY24" fmla="*/ 3732395 h 3894394"/>
                <a:gd name="connsiteX25" fmla="*/ 587697 w 3882980"/>
                <a:gd name="connsiteY25" fmla="*/ 3725292 h 3894394"/>
                <a:gd name="connsiteX26" fmla="*/ 623617 w 3882980"/>
                <a:gd name="connsiteY26" fmla="*/ 3703470 h 3894394"/>
                <a:gd name="connsiteX27" fmla="*/ 668975 w 3882980"/>
                <a:gd name="connsiteY27" fmla="*/ 3677575 h 3894394"/>
                <a:gd name="connsiteX28" fmla="*/ 687409 w 3882980"/>
                <a:gd name="connsiteY28" fmla="*/ 3664716 h 3894394"/>
                <a:gd name="connsiteX29" fmla="*/ 704754 w 3882980"/>
                <a:gd name="connsiteY29" fmla="*/ 3654178 h 3894394"/>
                <a:gd name="connsiteX30" fmla="*/ 735892 w 3882980"/>
                <a:gd name="connsiteY30" fmla="*/ 3630894 h 3894394"/>
                <a:gd name="connsiteX31" fmla="*/ 774019 w 3882980"/>
                <a:gd name="connsiteY31" fmla="*/ 3604296 h 3894394"/>
                <a:gd name="connsiteX32" fmla="*/ 794679 w 3882980"/>
                <a:gd name="connsiteY32" fmla="*/ 3586934 h 3894394"/>
                <a:gd name="connsiteX33" fmla="*/ 814049 w 3882980"/>
                <a:gd name="connsiteY33" fmla="*/ 3572449 h 3894394"/>
                <a:gd name="connsiteX34" fmla="*/ 840257 w 3882980"/>
                <a:gd name="connsiteY34" fmla="*/ 3548630 h 3894394"/>
                <a:gd name="connsiteX35" fmla="*/ 871850 w 3882980"/>
                <a:gd name="connsiteY35" fmla="*/ 3522078 h 3894394"/>
                <a:gd name="connsiteX36" fmla="*/ 894120 w 3882980"/>
                <a:gd name="connsiteY36" fmla="*/ 3499675 h 3894394"/>
                <a:gd name="connsiteX37" fmla="*/ 914870 w 3882980"/>
                <a:gd name="connsiteY37" fmla="*/ 3480817 h 3894394"/>
                <a:gd name="connsiteX38" fmla="*/ 936240 w 3882980"/>
                <a:gd name="connsiteY38" fmla="*/ 3457304 h 3894394"/>
                <a:gd name="connsiteX39" fmla="*/ 961880 w 3882980"/>
                <a:gd name="connsiteY39" fmla="*/ 3431511 h 3894394"/>
                <a:gd name="connsiteX40" fmla="*/ 985092 w 3882980"/>
                <a:gd name="connsiteY40" fmla="*/ 3403553 h 3894394"/>
                <a:gd name="connsiteX41" fmla="*/ 1006502 w 3882980"/>
                <a:gd name="connsiteY41" fmla="*/ 3379996 h 3894394"/>
                <a:gd name="connsiteX42" fmla="*/ 1023288 w 3882980"/>
                <a:gd name="connsiteY42" fmla="*/ 3357548 h 3894394"/>
                <a:gd name="connsiteX43" fmla="*/ 1043520 w 3882980"/>
                <a:gd name="connsiteY43" fmla="*/ 3333180 h 3894394"/>
                <a:gd name="connsiteX44" fmla="*/ 1066952 w 3882980"/>
                <a:gd name="connsiteY44" fmla="*/ 3299157 h 3894394"/>
                <a:gd name="connsiteX45" fmla="*/ 1088231 w 3882980"/>
                <a:gd name="connsiteY45" fmla="*/ 3270701 h 3894394"/>
                <a:gd name="connsiteX46" fmla="*/ 1100808 w 3882980"/>
                <a:gd name="connsiteY46" fmla="*/ 3249999 h 3894394"/>
                <a:gd name="connsiteX47" fmla="*/ 1116182 w 3882980"/>
                <a:gd name="connsiteY47" fmla="*/ 3227676 h 3894394"/>
                <a:gd name="connsiteX48" fmla="*/ 1125020 w 3882980"/>
                <a:gd name="connsiteY48" fmla="*/ 3210144 h 3894394"/>
                <a:gd name="connsiteX49" fmla="*/ 1159345 w 3882980"/>
                <a:gd name="connsiteY49" fmla="*/ 3153644 h 3894394"/>
                <a:gd name="connsiteX50" fmla="*/ 1219129 w 3882980"/>
                <a:gd name="connsiteY50" fmla="*/ 3029540 h 3894394"/>
                <a:gd name="connsiteX51" fmla="*/ 1224034 w 3882980"/>
                <a:gd name="connsiteY51" fmla="*/ 3013738 h 3894394"/>
                <a:gd name="connsiteX52" fmla="*/ 1232222 w 3882980"/>
                <a:gd name="connsiteY52" fmla="*/ 2997496 h 3894394"/>
                <a:gd name="connsiteX53" fmla="*/ 1277340 w 3882980"/>
                <a:gd name="connsiteY53" fmla="*/ 2842015 h 3894394"/>
                <a:gd name="connsiteX54" fmla="*/ 1301854 w 3882980"/>
                <a:gd name="connsiteY54" fmla="*/ 2763043 h 3894394"/>
                <a:gd name="connsiteX55" fmla="*/ 1303627 w 3882980"/>
                <a:gd name="connsiteY55" fmla="*/ 2751426 h 3894394"/>
                <a:gd name="connsiteX56" fmla="*/ 1305296 w 3882980"/>
                <a:gd name="connsiteY56" fmla="*/ 2745676 h 3894394"/>
                <a:gd name="connsiteX57" fmla="*/ 1306583 w 3882980"/>
                <a:gd name="connsiteY57" fmla="*/ 2732060 h 3894394"/>
                <a:gd name="connsiteX58" fmla="*/ 1323368 w 3882980"/>
                <a:gd name="connsiteY58" fmla="*/ 2622077 h 3894394"/>
                <a:gd name="connsiteX59" fmla="*/ 1330697 w 3882980"/>
                <a:gd name="connsiteY59" fmla="*/ 2476941 h 3894394"/>
                <a:gd name="connsiteX60" fmla="*/ 1330699 w 3882980"/>
                <a:gd name="connsiteY60" fmla="*/ 2476918 h 3894394"/>
                <a:gd name="connsiteX61" fmla="*/ 1324250 w 3882980"/>
                <a:gd name="connsiteY61" fmla="*/ 2340716 h 3894394"/>
                <a:gd name="connsiteX62" fmla="*/ 1323586 w 3882980"/>
                <a:gd name="connsiteY62" fmla="*/ 2336072 h 3894394"/>
                <a:gd name="connsiteX63" fmla="*/ 1323368 w 3882980"/>
                <a:gd name="connsiteY63" fmla="*/ 2331759 h 3894394"/>
                <a:gd name="connsiteX64" fmla="*/ 1317044 w 3882980"/>
                <a:gd name="connsiteY64" fmla="*/ 2290320 h 3894394"/>
                <a:gd name="connsiteX65" fmla="*/ 1310737 w 3882980"/>
                <a:gd name="connsiteY65" fmla="*/ 2246214 h 3894394"/>
                <a:gd name="connsiteX66" fmla="*/ 1310201 w 3882980"/>
                <a:gd name="connsiteY66" fmla="*/ 2245485 h 3894394"/>
                <a:gd name="connsiteX67" fmla="*/ 1301854 w 3882980"/>
                <a:gd name="connsiteY67" fmla="*/ 2190793 h 3894394"/>
                <a:gd name="connsiteX68" fmla="*/ 1088231 w 3882980"/>
                <a:gd name="connsiteY68" fmla="*/ 1683135 h 3894394"/>
                <a:gd name="connsiteX69" fmla="*/ 1063655 w 3882980"/>
                <a:gd name="connsiteY69" fmla="*/ 1650270 h 3894394"/>
                <a:gd name="connsiteX70" fmla="*/ 1063586 w 3882980"/>
                <a:gd name="connsiteY70" fmla="*/ 1649791 h 3894394"/>
                <a:gd name="connsiteX71" fmla="*/ 1043520 w 3882980"/>
                <a:gd name="connsiteY71" fmla="*/ 1620656 h 3894394"/>
                <a:gd name="connsiteX72" fmla="*/ 1025170 w 3882980"/>
                <a:gd name="connsiteY72" fmla="*/ 1598805 h 3894394"/>
                <a:gd name="connsiteX73" fmla="*/ 1006502 w 3882980"/>
                <a:gd name="connsiteY73" fmla="*/ 1573840 h 3894394"/>
                <a:gd name="connsiteX74" fmla="*/ 976303 w 3882980"/>
                <a:gd name="connsiteY74" fmla="*/ 1540613 h 3894394"/>
                <a:gd name="connsiteX75" fmla="*/ 951073 w 3882980"/>
                <a:gd name="connsiteY75" fmla="*/ 1510568 h 3894394"/>
                <a:gd name="connsiteX76" fmla="*/ 933153 w 3882980"/>
                <a:gd name="connsiteY76" fmla="*/ 1493136 h 3894394"/>
                <a:gd name="connsiteX77" fmla="*/ 914870 w 3882980"/>
                <a:gd name="connsiteY77" fmla="*/ 1473019 h 3894394"/>
                <a:gd name="connsiteX78" fmla="*/ 878412 w 3882980"/>
                <a:gd name="connsiteY78" fmla="*/ 1439885 h 3894394"/>
                <a:gd name="connsiteX79" fmla="*/ 848101 w 3882980"/>
                <a:gd name="connsiteY79" fmla="*/ 1410398 h 3894394"/>
                <a:gd name="connsiteX80" fmla="*/ 831275 w 3882980"/>
                <a:gd name="connsiteY80" fmla="*/ 1397044 h 3894394"/>
                <a:gd name="connsiteX81" fmla="*/ 814049 w 3882980"/>
                <a:gd name="connsiteY81" fmla="*/ 1381388 h 3894394"/>
                <a:gd name="connsiteX82" fmla="*/ 770820 w 3882980"/>
                <a:gd name="connsiteY82" fmla="*/ 1349062 h 3894394"/>
                <a:gd name="connsiteX83" fmla="*/ 735441 w 3882980"/>
                <a:gd name="connsiteY83" fmla="*/ 1320982 h 3894394"/>
                <a:gd name="connsiteX84" fmla="*/ 720310 w 3882980"/>
                <a:gd name="connsiteY84" fmla="*/ 1311290 h 3894394"/>
                <a:gd name="connsiteX85" fmla="*/ 704754 w 3882980"/>
                <a:gd name="connsiteY85" fmla="*/ 1299658 h 3894394"/>
                <a:gd name="connsiteX86" fmla="*/ 654114 w 3882980"/>
                <a:gd name="connsiteY86" fmla="*/ 1268893 h 3894394"/>
                <a:gd name="connsiteX87" fmla="*/ 613931 w 3882980"/>
                <a:gd name="connsiteY87" fmla="*/ 1243157 h 3894394"/>
                <a:gd name="connsiteX88" fmla="*/ 601024 w 3882980"/>
                <a:gd name="connsiteY88" fmla="*/ 1236641 h 3894394"/>
                <a:gd name="connsiteX89" fmla="*/ 587697 w 3882980"/>
                <a:gd name="connsiteY89" fmla="*/ 1228544 h 3894394"/>
                <a:gd name="connsiteX90" fmla="*/ 528670 w 3882980"/>
                <a:gd name="connsiteY90" fmla="*/ 1200109 h 3894394"/>
                <a:gd name="connsiteX91" fmla="*/ 484408 w 3882980"/>
                <a:gd name="connsiteY91" fmla="*/ 1177762 h 3894394"/>
                <a:gd name="connsiteX92" fmla="*/ 474192 w 3882980"/>
                <a:gd name="connsiteY92" fmla="*/ 1173866 h 3894394"/>
                <a:gd name="connsiteX93" fmla="*/ 463593 w 3882980"/>
                <a:gd name="connsiteY93" fmla="*/ 1168760 h 3894394"/>
                <a:gd name="connsiteX94" fmla="*/ 394231 w 3882980"/>
                <a:gd name="connsiteY94" fmla="*/ 1143373 h 3894394"/>
                <a:gd name="connsiteX95" fmla="*/ 347709 w 3882980"/>
                <a:gd name="connsiteY95" fmla="*/ 1125632 h 3894394"/>
                <a:gd name="connsiteX96" fmla="*/ 340584 w 3882980"/>
                <a:gd name="connsiteY96" fmla="*/ 1123738 h 3894394"/>
                <a:gd name="connsiteX97" fmla="*/ 333155 w 3882980"/>
                <a:gd name="connsiteY97" fmla="*/ 1121019 h 3894394"/>
                <a:gd name="connsiteX98" fmla="*/ 247806 w 3882980"/>
                <a:gd name="connsiteY98" fmla="*/ 1099074 h 3894394"/>
                <a:gd name="connsiteX99" fmla="*/ 204671 w 3882980"/>
                <a:gd name="connsiteY99" fmla="*/ 1087606 h 3894394"/>
                <a:gd name="connsiteX100" fmla="*/ 200973 w 3882980"/>
                <a:gd name="connsiteY100" fmla="*/ 1087032 h 3894394"/>
                <a:gd name="connsiteX101" fmla="*/ 197096 w 3882980"/>
                <a:gd name="connsiteY101" fmla="*/ 1086035 h 3894394"/>
                <a:gd name="connsiteX102" fmla="*/ 56150 w 3882980"/>
                <a:gd name="connsiteY102" fmla="*/ 1064524 h 3894394"/>
                <a:gd name="connsiteX103" fmla="*/ 56131 w 3882980"/>
                <a:gd name="connsiteY103" fmla="*/ 1064521 h 3894394"/>
                <a:gd name="connsiteX104" fmla="*/ 56130 w 3882980"/>
                <a:gd name="connsiteY104" fmla="*/ 1064521 h 3894394"/>
                <a:gd name="connsiteX105" fmla="*/ 31567 w 3882980"/>
                <a:gd name="connsiteY105" fmla="*/ 1063281 h 3894394"/>
                <a:gd name="connsiteX106" fmla="*/ 132271 w 3882980"/>
                <a:gd name="connsiteY106" fmla="*/ 1058196 h 3894394"/>
                <a:gd name="connsiteX107" fmla="*/ 1465309 w 3882980"/>
                <a:gd name="connsiteY107" fmla="*/ 424076 h 3894394"/>
                <a:gd name="connsiteX108" fmla="*/ 1534696 w 3882980"/>
                <a:gd name="connsiteY108" fmla="*/ 347731 h 3894394"/>
                <a:gd name="connsiteX109" fmla="*/ 1567181 w 3882980"/>
                <a:gd name="connsiteY109" fmla="*/ 318369 h 3894394"/>
                <a:gd name="connsiteX110" fmla="*/ 2463253 w 3882980"/>
                <a:gd name="connsiteY110" fmla="*/ 0 h 3894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882980" h="3894394">
                  <a:moveTo>
                    <a:pt x="2463253" y="0"/>
                  </a:moveTo>
                  <a:cubicBezTo>
                    <a:pt x="2826593" y="0"/>
                    <a:pt x="3189933" y="138610"/>
                    <a:pt x="3467152" y="415829"/>
                  </a:cubicBezTo>
                  <a:cubicBezTo>
                    <a:pt x="4021590" y="970267"/>
                    <a:pt x="4021590" y="1869188"/>
                    <a:pt x="3467152" y="2423626"/>
                  </a:cubicBezTo>
                  <a:lnTo>
                    <a:pt x="3401021" y="2483400"/>
                  </a:lnTo>
                  <a:lnTo>
                    <a:pt x="3402698" y="2485077"/>
                  </a:lnTo>
                  <a:lnTo>
                    <a:pt x="3292491" y="2590150"/>
                  </a:lnTo>
                  <a:cubicBezTo>
                    <a:pt x="2458911" y="3347781"/>
                    <a:pt x="1369834" y="3829270"/>
                    <a:pt x="169773" y="3890101"/>
                  </a:cubicBezTo>
                  <a:lnTo>
                    <a:pt x="0" y="3894394"/>
                  </a:lnTo>
                  <a:lnTo>
                    <a:pt x="0" y="3892149"/>
                  </a:lnTo>
                  <a:lnTo>
                    <a:pt x="56130" y="3889315"/>
                  </a:lnTo>
                  <a:lnTo>
                    <a:pt x="56131" y="3889315"/>
                  </a:lnTo>
                  <a:cubicBezTo>
                    <a:pt x="100875" y="3884771"/>
                    <a:pt x="145005" y="3878149"/>
                    <a:pt x="188423" y="3869548"/>
                  </a:cubicBezTo>
                  <a:lnTo>
                    <a:pt x="192894" y="3868442"/>
                  </a:lnTo>
                  <a:lnTo>
                    <a:pt x="197096" y="3867801"/>
                  </a:lnTo>
                  <a:lnTo>
                    <a:pt x="237113" y="3857512"/>
                  </a:lnTo>
                  <a:lnTo>
                    <a:pt x="316441" y="3837902"/>
                  </a:lnTo>
                  <a:lnTo>
                    <a:pt x="325050" y="3834901"/>
                  </a:lnTo>
                  <a:lnTo>
                    <a:pt x="333155" y="3832817"/>
                  </a:lnTo>
                  <a:lnTo>
                    <a:pt x="375837" y="3817195"/>
                  </a:lnTo>
                  <a:lnTo>
                    <a:pt x="439598" y="3794966"/>
                  </a:lnTo>
                  <a:lnTo>
                    <a:pt x="451950" y="3789337"/>
                  </a:lnTo>
                  <a:lnTo>
                    <a:pt x="463593" y="3785076"/>
                  </a:lnTo>
                  <a:lnTo>
                    <a:pt x="503706" y="3765753"/>
                  </a:lnTo>
                  <a:lnTo>
                    <a:pt x="557305" y="3741328"/>
                  </a:lnTo>
                  <a:lnTo>
                    <a:pt x="572951" y="3732395"/>
                  </a:lnTo>
                  <a:lnTo>
                    <a:pt x="587697" y="3725292"/>
                  </a:lnTo>
                  <a:lnTo>
                    <a:pt x="623617" y="3703470"/>
                  </a:lnTo>
                  <a:lnTo>
                    <a:pt x="668975" y="3677575"/>
                  </a:lnTo>
                  <a:lnTo>
                    <a:pt x="687409" y="3664716"/>
                  </a:lnTo>
                  <a:lnTo>
                    <a:pt x="704754" y="3654178"/>
                  </a:lnTo>
                  <a:lnTo>
                    <a:pt x="735892" y="3630894"/>
                  </a:lnTo>
                  <a:lnTo>
                    <a:pt x="774019" y="3604296"/>
                  </a:lnTo>
                  <a:lnTo>
                    <a:pt x="794679" y="3586934"/>
                  </a:lnTo>
                  <a:lnTo>
                    <a:pt x="814049" y="3572449"/>
                  </a:lnTo>
                  <a:lnTo>
                    <a:pt x="840257" y="3548630"/>
                  </a:lnTo>
                  <a:lnTo>
                    <a:pt x="871850" y="3522078"/>
                  </a:lnTo>
                  <a:lnTo>
                    <a:pt x="894120" y="3499675"/>
                  </a:lnTo>
                  <a:lnTo>
                    <a:pt x="914870" y="3480817"/>
                  </a:lnTo>
                  <a:lnTo>
                    <a:pt x="936240" y="3457304"/>
                  </a:lnTo>
                  <a:lnTo>
                    <a:pt x="961880" y="3431511"/>
                  </a:lnTo>
                  <a:lnTo>
                    <a:pt x="985092" y="3403553"/>
                  </a:lnTo>
                  <a:lnTo>
                    <a:pt x="1006502" y="3379996"/>
                  </a:lnTo>
                  <a:lnTo>
                    <a:pt x="1023288" y="3357548"/>
                  </a:lnTo>
                  <a:lnTo>
                    <a:pt x="1043520" y="3333180"/>
                  </a:lnTo>
                  <a:lnTo>
                    <a:pt x="1066952" y="3299157"/>
                  </a:lnTo>
                  <a:lnTo>
                    <a:pt x="1088231" y="3270701"/>
                  </a:lnTo>
                  <a:lnTo>
                    <a:pt x="1100808" y="3249999"/>
                  </a:lnTo>
                  <a:lnTo>
                    <a:pt x="1116182" y="3227676"/>
                  </a:lnTo>
                  <a:lnTo>
                    <a:pt x="1125020" y="3210144"/>
                  </a:lnTo>
                  <a:lnTo>
                    <a:pt x="1159345" y="3153644"/>
                  </a:lnTo>
                  <a:cubicBezTo>
                    <a:pt x="1181201" y="3113411"/>
                    <a:pt x="1201168" y="3072003"/>
                    <a:pt x="1219129" y="3029540"/>
                  </a:cubicBezTo>
                  <a:lnTo>
                    <a:pt x="1224034" y="3013738"/>
                  </a:lnTo>
                  <a:lnTo>
                    <a:pt x="1232222" y="2997496"/>
                  </a:lnTo>
                  <a:lnTo>
                    <a:pt x="1277340" y="2842015"/>
                  </a:lnTo>
                  <a:lnTo>
                    <a:pt x="1301854" y="2763043"/>
                  </a:lnTo>
                  <a:lnTo>
                    <a:pt x="1303627" y="2751426"/>
                  </a:lnTo>
                  <a:lnTo>
                    <a:pt x="1305296" y="2745676"/>
                  </a:lnTo>
                  <a:lnTo>
                    <a:pt x="1306583" y="2732060"/>
                  </a:lnTo>
                  <a:lnTo>
                    <a:pt x="1323368" y="2622077"/>
                  </a:lnTo>
                  <a:lnTo>
                    <a:pt x="1330697" y="2476941"/>
                  </a:lnTo>
                  <a:lnTo>
                    <a:pt x="1330699" y="2476918"/>
                  </a:lnTo>
                  <a:cubicBezTo>
                    <a:pt x="1330699" y="2430975"/>
                    <a:pt x="1328517" y="2385542"/>
                    <a:pt x="1324250" y="2340716"/>
                  </a:cubicBezTo>
                  <a:lnTo>
                    <a:pt x="1323586" y="2336072"/>
                  </a:lnTo>
                  <a:lnTo>
                    <a:pt x="1323368" y="2331759"/>
                  </a:lnTo>
                  <a:lnTo>
                    <a:pt x="1317044" y="2290320"/>
                  </a:lnTo>
                  <a:lnTo>
                    <a:pt x="1310737" y="2246214"/>
                  </a:lnTo>
                  <a:lnTo>
                    <a:pt x="1310201" y="2245485"/>
                  </a:lnTo>
                  <a:lnTo>
                    <a:pt x="1301854" y="2190793"/>
                  </a:lnTo>
                  <a:cubicBezTo>
                    <a:pt x="1264030" y="2005952"/>
                    <a:pt x="1190285" y="1834195"/>
                    <a:pt x="1088231" y="1683135"/>
                  </a:cubicBezTo>
                  <a:lnTo>
                    <a:pt x="1063655" y="1650270"/>
                  </a:lnTo>
                  <a:lnTo>
                    <a:pt x="1063586" y="1649791"/>
                  </a:lnTo>
                  <a:lnTo>
                    <a:pt x="1043520" y="1620656"/>
                  </a:lnTo>
                  <a:lnTo>
                    <a:pt x="1025170" y="1598805"/>
                  </a:lnTo>
                  <a:lnTo>
                    <a:pt x="1006502" y="1573840"/>
                  </a:lnTo>
                  <a:lnTo>
                    <a:pt x="976303" y="1540613"/>
                  </a:lnTo>
                  <a:lnTo>
                    <a:pt x="951073" y="1510568"/>
                  </a:lnTo>
                  <a:lnTo>
                    <a:pt x="933153" y="1493136"/>
                  </a:lnTo>
                  <a:lnTo>
                    <a:pt x="914870" y="1473019"/>
                  </a:lnTo>
                  <a:lnTo>
                    <a:pt x="878412" y="1439885"/>
                  </a:lnTo>
                  <a:lnTo>
                    <a:pt x="848101" y="1410398"/>
                  </a:lnTo>
                  <a:lnTo>
                    <a:pt x="831275" y="1397044"/>
                  </a:lnTo>
                  <a:lnTo>
                    <a:pt x="814049" y="1381388"/>
                  </a:lnTo>
                  <a:lnTo>
                    <a:pt x="770820" y="1349062"/>
                  </a:lnTo>
                  <a:lnTo>
                    <a:pt x="735441" y="1320982"/>
                  </a:lnTo>
                  <a:lnTo>
                    <a:pt x="720310" y="1311290"/>
                  </a:lnTo>
                  <a:lnTo>
                    <a:pt x="704754" y="1299658"/>
                  </a:lnTo>
                  <a:lnTo>
                    <a:pt x="654114" y="1268893"/>
                  </a:lnTo>
                  <a:lnTo>
                    <a:pt x="613931" y="1243157"/>
                  </a:lnTo>
                  <a:lnTo>
                    <a:pt x="601024" y="1236641"/>
                  </a:lnTo>
                  <a:lnTo>
                    <a:pt x="587697" y="1228544"/>
                  </a:lnTo>
                  <a:lnTo>
                    <a:pt x="528670" y="1200109"/>
                  </a:lnTo>
                  <a:lnTo>
                    <a:pt x="484408" y="1177762"/>
                  </a:lnTo>
                  <a:lnTo>
                    <a:pt x="474192" y="1173866"/>
                  </a:lnTo>
                  <a:lnTo>
                    <a:pt x="463593" y="1168760"/>
                  </a:lnTo>
                  <a:lnTo>
                    <a:pt x="394231" y="1143373"/>
                  </a:lnTo>
                  <a:lnTo>
                    <a:pt x="347709" y="1125632"/>
                  </a:lnTo>
                  <a:lnTo>
                    <a:pt x="340584" y="1123738"/>
                  </a:lnTo>
                  <a:lnTo>
                    <a:pt x="333155" y="1121019"/>
                  </a:lnTo>
                  <a:lnTo>
                    <a:pt x="247806" y="1099074"/>
                  </a:lnTo>
                  <a:lnTo>
                    <a:pt x="204671" y="1087606"/>
                  </a:lnTo>
                  <a:lnTo>
                    <a:pt x="200973" y="1087032"/>
                  </a:lnTo>
                  <a:lnTo>
                    <a:pt x="197096" y="1086035"/>
                  </a:lnTo>
                  <a:lnTo>
                    <a:pt x="56150" y="1064524"/>
                  </a:lnTo>
                  <a:lnTo>
                    <a:pt x="56131" y="1064521"/>
                  </a:lnTo>
                  <a:lnTo>
                    <a:pt x="56130" y="1064521"/>
                  </a:lnTo>
                  <a:lnTo>
                    <a:pt x="31567" y="1063281"/>
                  </a:lnTo>
                  <a:lnTo>
                    <a:pt x="132271" y="1058196"/>
                  </a:lnTo>
                  <a:cubicBezTo>
                    <a:pt x="650885" y="1005528"/>
                    <a:pt x="1116340" y="773045"/>
                    <a:pt x="1465309" y="424076"/>
                  </a:cubicBezTo>
                  <a:lnTo>
                    <a:pt x="1534696" y="347731"/>
                  </a:lnTo>
                  <a:lnTo>
                    <a:pt x="1567181" y="318369"/>
                  </a:lnTo>
                  <a:cubicBezTo>
                    <a:pt x="1827409" y="106123"/>
                    <a:pt x="2145331" y="0"/>
                    <a:pt x="2463253" y="0"/>
                  </a:cubicBezTo>
                  <a:close/>
                </a:path>
              </a:pathLst>
            </a:custGeom>
            <a:solidFill>
              <a:srgbClr val="F08C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41" name="Freeform 40">
              <a:extLst>
                <a:ext uri="{FF2B5EF4-FFF2-40B4-BE49-F238E27FC236}">
                  <a16:creationId xmlns:a16="http://schemas.microsoft.com/office/drawing/2014/main" id="{A0BDA6A2-7ED5-CA4D-BB7E-B4001D63BA40}"/>
                </a:ext>
              </a:extLst>
            </p:cNvPr>
            <p:cNvSpPr/>
            <p:nvPr/>
          </p:nvSpPr>
          <p:spPr>
            <a:xfrm>
              <a:off x="4295707" y="4777083"/>
              <a:ext cx="2455727" cy="1683875"/>
            </a:xfrm>
            <a:custGeom>
              <a:avLst/>
              <a:gdLst>
                <a:gd name="connsiteX0" fmla="*/ 2044653 w 4911454"/>
                <a:gd name="connsiteY0" fmla="*/ 0 h 3367750"/>
                <a:gd name="connsiteX1" fmla="*/ 2085828 w 4911454"/>
                <a:gd name="connsiteY1" fmla="*/ 37422 h 3367750"/>
                <a:gd name="connsiteX2" fmla="*/ 3487694 w 4911454"/>
                <a:gd name="connsiteY2" fmla="*/ 540679 h 3367750"/>
                <a:gd name="connsiteX3" fmla="*/ 3612326 w 4911454"/>
                <a:gd name="connsiteY3" fmla="*/ 534386 h 3367750"/>
                <a:gd name="connsiteX4" fmla="*/ 3636886 w 4911454"/>
                <a:gd name="connsiteY4" fmla="*/ 535626 h 3367750"/>
                <a:gd name="connsiteX5" fmla="*/ 4911454 w 4911454"/>
                <a:gd name="connsiteY5" fmla="*/ 1948023 h 3367750"/>
                <a:gd name="connsiteX6" fmla="*/ 3491727 w 4911454"/>
                <a:gd name="connsiteY6" fmla="*/ 3367750 h 3367750"/>
                <a:gd name="connsiteX7" fmla="*/ 3402699 w 4911454"/>
                <a:gd name="connsiteY7" fmla="*/ 3363254 h 3367750"/>
                <a:gd name="connsiteX8" fmla="*/ 3402699 w 4911454"/>
                <a:gd name="connsiteY8" fmla="*/ 3365499 h 3367750"/>
                <a:gd name="connsiteX9" fmla="*/ 3232925 w 4911454"/>
                <a:gd name="connsiteY9" fmla="*/ 3361206 h 3367750"/>
                <a:gd name="connsiteX10" fmla="*/ 110207 w 4911454"/>
                <a:gd name="connsiteY10" fmla="*/ 2061255 h 3367750"/>
                <a:gd name="connsiteX11" fmla="*/ 0 w 4911454"/>
                <a:gd name="connsiteY11" fmla="*/ 1956182 h 3367750"/>
                <a:gd name="connsiteX12" fmla="*/ 1676 w 4911454"/>
                <a:gd name="connsiteY12" fmla="*/ 1954506 h 3367750"/>
                <a:gd name="connsiteX13" fmla="*/ 38047 w 4911454"/>
                <a:gd name="connsiteY13" fmla="*/ 1987380 h 3367750"/>
                <a:gd name="connsiteX14" fmla="*/ 43370 w 4911454"/>
                <a:gd name="connsiteY14" fmla="*/ 1992192 h 3367750"/>
                <a:gd name="connsiteX15" fmla="*/ 43371 w 4911454"/>
                <a:gd name="connsiteY15" fmla="*/ 1992193 h 3367750"/>
                <a:gd name="connsiteX16" fmla="*/ 43391 w 4911454"/>
                <a:gd name="connsiteY16" fmla="*/ 1992207 h 3367750"/>
                <a:gd name="connsiteX17" fmla="*/ 150892 w 4911454"/>
                <a:gd name="connsiteY17" fmla="*/ 2071759 h 3367750"/>
                <a:gd name="connsiteX18" fmla="*/ 154833 w 4911454"/>
                <a:gd name="connsiteY18" fmla="*/ 2074138 h 3367750"/>
                <a:gd name="connsiteX19" fmla="*/ 158261 w 4911454"/>
                <a:gd name="connsiteY19" fmla="*/ 2076658 h 3367750"/>
                <a:gd name="connsiteX20" fmla="*/ 193876 w 4911454"/>
                <a:gd name="connsiteY20" fmla="*/ 2097704 h 3367750"/>
                <a:gd name="connsiteX21" fmla="*/ 263791 w 4911454"/>
                <a:gd name="connsiteY21" fmla="*/ 2139904 h 3367750"/>
                <a:gd name="connsiteX22" fmla="*/ 271995 w 4911454"/>
                <a:gd name="connsiteY22" fmla="*/ 2143867 h 3367750"/>
                <a:gd name="connsiteX23" fmla="*/ 279207 w 4911454"/>
                <a:gd name="connsiteY23" fmla="*/ 2148129 h 3367750"/>
                <a:gd name="connsiteX24" fmla="*/ 320478 w 4911454"/>
                <a:gd name="connsiteY24" fmla="*/ 2167283 h 3367750"/>
                <a:gd name="connsiteX25" fmla="*/ 381237 w 4911454"/>
                <a:gd name="connsiteY25" fmla="*/ 2196629 h 3367750"/>
                <a:gd name="connsiteX26" fmla="*/ 393942 w 4911454"/>
                <a:gd name="connsiteY26" fmla="*/ 2201380 h 3367750"/>
                <a:gd name="connsiteX27" fmla="*/ 405199 w 4911454"/>
                <a:gd name="connsiteY27" fmla="*/ 2206604 h 3367750"/>
                <a:gd name="connsiteX28" fmla="*/ 447269 w 4911454"/>
                <a:gd name="connsiteY28" fmla="*/ 2221320 h 3367750"/>
                <a:gd name="connsiteX29" fmla="*/ 502397 w 4911454"/>
                <a:gd name="connsiteY29" fmla="*/ 2241933 h 3367750"/>
                <a:gd name="connsiteX30" fmla="*/ 519762 w 4911454"/>
                <a:gd name="connsiteY30" fmla="*/ 2246676 h 3367750"/>
                <a:gd name="connsiteX31" fmla="*/ 535228 w 4911454"/>
                <a:gd name="connsiteY31" fmla="*/ 2252086 h 3367750"/>
                <a:gd name="connsiteX32" fmla="*/ 576099 w 4911454"/>
                <a:gd name="connsiteY32" fmla="*/ 2262064 h 3367750"/>
                <a:gd name="connsiteX33" fmla="*/ 626439 w 4911454"/>
                <a:gd name="connsiteY33" fmla="*/ 2275815 h 3367750"/>
                <a:gd name="connsiteX34" fmla="*/ 648548 w 4911454"/>
                <a:gd name="connsiteY34" fmla="*/ 2279753 h 3367750"/>
                <a:gd name="connsiteX35" fmla="*/ 668284 w 4911454"/>
                <a:gd name="connsiteY35" fmla="*/ 2284572 h 3367750"/>
                <a:gd name="connsiteX36" fmla="*/ 706805 w 4911454"/>
                <a:gd name="connsiteY36" fmla="*/ 2290131 h 3367750"/>
                <a:gd name="connsiteX37" fmla="*/ 752533 w 4911454"/>
                <a:gd name="connsiteY37" fmla="*/ 2298277 h 3367750"/>
                <a:gd name="connsiteX38" fmla="*/ 779394 w 4911454"/>
                <a:gd name="connsiteY38" fmla="*/ 2300606 h 3367750"/>
                <a:gd name="connsiteX39" fmla="*/ 803359 w 4911454"/>
                <a:gd name="connsiteY39" fmla="*/ 2304064 h 3367750"/>
                <a:gd name="connsiteX40" fmla="*/ 838770 w 4911454"/>
                <a:gd name="connsiteY40" fmla="*/ 2305755 h 3367750"/>
                <a:gd name="connsiteX41" fmla="*/ 879846 w 4911454"/>
                <a:gd name="connsiteY41" fmla="*/ 2309317 h 3367750"/>
                <a:gd name="connsiteX42" fmla="*/ 911406 w 4911454"/>
                <a:gd name="connsiteY42" fmla="*/ 2309223 h 3367750"/>
                <a:gd name="connsiteX43" fmla="*/ 939444 w 4911454"/>
                <a:gd name="connsiteY43" fmla="*/ 2310562 h 3367750"/>
                <a:gd name="connsiteX44" fmla="*/ 971216 w 4911454"/>
                <a:gd name="connsiteY44" fmla="*/ 2309045 h 3367750"/>
                <a:gd name="connsiteX45" fmla="*/ 1007548 w 4911454"/>
                <a:gd name="connsiteY45" fmla="*/ 2308936 h 3367750"/>
                <a:gd name="connsiteX46" fmla="*/ 1043695 w 4911454"/>
                <a:gd name="connsiteY46" fmla="*/ 2305584 h 3367750"/>
                <a:gd name="connsiteX47" fmla="*/ 1075528 w 4911454"/>
                <a:gd name="connsiteY47" fmla="*/ 2304064 h 3367750"/>
                <a:gd name="connsiteX48" fmla="*/ 1103304 w 4911454"/>
                <a:gd name="connsiteY48" fmla="*/ 2300056 h 3367750"/>
                <a:gd name="connsiteX49" fmla="*/ 1134806 w 4911454"/>
                <a:gd name="connsiteY49" fmla="*/ 2297134 h 3367750"/>
                <a:gd name="connsiteX50" fmla="*/ 1175388 w 4911454"/>
                <a:gd name="connsiteY50" fmla="*/ 2289654 h 3367750"/>
                <a:gd name="connsiteX51" fmla="*/ 1210603 w 4911454"/>
                <a:gd name="connsiteY51" fmla="*/ 2284572 h 3367750"/>
                <a:gd name="connsiteX52" fmla="*/ 1234166 w 4911454"/>
                <a:gd name="connsiteY52" fmla="*/ 2278819 h 3367750"/>
                <a:gd name="connsiteX53" fmla="*/ 1260789 w 4911454"/>
                <a:gd name="connsiteY53" fmla="*/ 2273912 h 3367750"/>
                <a:gd name="connsiteX54" fmla="*/ 1305641 w 4911454"/>
                <a:gd name="connsiteY54" fmla="*/ 2261368 h 3367750"/>
                <a:gd name="connsiteX55" fmla="*/ 1343659 w 4911454"/>
                <a:gd name="connsiteY55" fmla="*/ 2252086 h 3367750"/>
                <a:gd name="connsiteX56" fmla="*/ 1362914 w 4911454"/>
                <a:gd name="connsiteY56" fmla="*/ 2245351 h 3367750"/>
                <a:gd name="connsiteX57" fmla="*/ 1384665 w 4911454"/>
                <a:gd name="connsiteY57" fmla="*/ 2239268 h 3367750"/>
                <a:gd name="connsiteX58" fmla="*/ 1433669 w 4911454"/>
                <a:gd name="connsiteY58" fmla="*/ 2220602 h 3367750"/>
                <a:gd name="connsiteX59" fmla="*/ 1473688 w 4911454"/>
                <a:gd name="connsiteY59" fmla="*/ 2206604 h 3367750"/>
                <a:gd name="connsiteX60" fmla="*/ 1488652 w 4911454"/>
                <a:gd name="connsiteY60" fmla="*/ 2199659 h 3367750"/>
                <a:gd name="connsiteX61" fmla="*/ 1505603 w 4911454"/>
                <a:gd name="connsiteY61" fmla="*/ 2193203 h 3367750"/>
                <a:gd name="connsiteX62" fmla="*/ 1558831 w 4911454"/>
                <a:gd name="connsiteY62" fmla="*/ 2167087 h 3367750"/>
                <a:gd name="connsiteX63" fmla="*/ 1599680 w 4911454"/>
                <a:gd name="connsiteY63" fmla="*/ 2148129 h 3367750"/>
                <a:gd name="connsiteX64" fmla="*/ 1610474 w 4911454"/>
                <a:gd name="connsiteY64" fmla="*/ 2141750 h 3367750"/>
                <a:gd name="connsiteX65" fmla="*/ 1622771 w 4911454"/>
                <a:gd name="connsiteY65" fmla="*/ 2135717 h 3367750"/>
                <a:gd name="connsiteX66" fmla="*/ 1680914 w 4911454"/>
                <a:gd name="connsiteY66" fmla="*/ 2100125 h 3367750"/>
                <a:gd name="connsiteX67" fmla="*/ 1720626 w 4911454"/>
                <a:gd name="connsiteY67" fmla="*/ 2076658 h 3367750"/>
                <a:gd name="connsiteX68" fmla="*/ 1727473 w 4911454"/>
                <a:gd name="connsiteY68" fmla="*/ 2071624 h 3367750"/>
                <a:gd name="connsiteX69" fmla="*/ 1735338 w 4911454"/>
                <a:gd name="connsiteY69" fmla="*/ 2066810 h 3367750"/>
                <a:gd name="connsiteX70" fmla="*/ 1801558 w 4911454"/>
                <a:gd name="connsiteY70" fmla="*/ 2017158 h 3367750"/>
                <a:gd name="connsiteX71" fmla="*/ 1835516 w 4911454"/>
                <a:gd name="connsiteY71" fmla="*/ 1992193 h 3367750"/>
                <a:gd name="connsiteX72" fmla="*/ 1838737 w 4911454"/>
                <a:gd name="connsiteY72" fmla="*/ 1989282 h 3367750"/>
                <a:gd name="connsiteX73" fmla="*/ 1842472 w 4911454"/>
                <a:gd name="connsiteY73" fmla="*/ 1986481 h 3367750"/>
                <a:gd name="connsiteX74" fmla="*/ 1943022 w 4911454"/>
                <a:gd name="connsiteY74" fmla="*/ 1895022 h 3367750"/>
                <a:gd name="connsiteX75" fmla="*/ 1943342 w 4911454"/>
                <a:gd name="connsiteY75" fmla="*/ 1894733 h 3367750"/>
                <a:gd name="connsiteX76" fmla="*/ 1943631 w 4911454"/>
                <a:gd name="connsiteY76" fmla="*/ 1894413 h 3367750"/>
                <a:gd name="connsiteX77" fmla="*/ 2035090 w 4911454"/>
                <a:gd name="connsiteY77" fmla="*/ 1793863 h 3367750"/>
                <a:gd name="connsiteX78" fmla="*/ 2037890 w 4911454"/>
                <a:gd name="connsiteY78" fmla="*/ 1790128 h 3367750"/>
                <a:gd name="connsiteX79" fmla="*/ 2040802 w 4911454"/>
                <a:gd name="connsiteY79" fmla="*/ 1786907 h 3367750"/>
                <a:gd name="connsiteX80" fmla="*/ 2065765 w 4911454"/>
                <a:gd name="connsiteY80" fmla="*/ 1752952 h 3367750"/>
                <a:gd name="connsiteX81" fmla="*/ 2092361 w 4911454"/>
                <a:gd name="connsiteY81" fmla="*/ 1717481 h 3367750"/>
                <a:gd name="connsiteX82" fmla="*/ 2092497 w 4911454"/>
                <a:gd name="connsiteY82" fmla="*/ 1716591 h 3367750"/>
                <a:gd name="connsiteX83" fmla="*/ 2125267 w 4911454"/>
                <a:gd name="connsiteY83" fmla="*/ 1672017 h 3367750"/>
                <a:gd name="connsiteX84" fmla="*/ 2333181 w 4911454"/>
                <a:gd name="connsiteY84" fmla="*/ 1161994 h 3367750"/>
                <a:gd name="connsiteX85" fmla="*/ 2339042 w 4911454"/>
                <a:gd name="connsiteY85" fmla="*/ 1121377 h 3367750"/>
                <a:gd name="connsiteX86" fmla="*/ 2339330 w 4911454"/>
                <a:gd name="connsiteY86" fmla="*/ 1120992 h 3367750"/>
                <a:gd name="connsiteX87" fmla="*/ 2345743 w 4911454"/>
                <a:gd name="connsiteY87" fmla="*/ 1086197 h 3367750"/>
                <a:gd name="connsiteX88" fmla="*/ 2348216 w 4911454"/>
                <a:gd name="connsiteY88" fmla="*/ 1057808 h 3367750"/>
                <a:gd name="connsiteX89" fmla="*/ 2352673 w 4911454"/>
                <a:gd name="connsiteY89" fmla="*/ 1026919 h 3367750"/>
                <a:gd name="connsiteX90" fmla="*/ 2354817 w 4911454"/>
                <a:gd name="connsiteY90" fmla="*/ 982021 h 3367750"/>
                <a:gd name="connsiteX91" fmla="*/ 2358217 w 4911454"/>
                <a:gd name="connsiteY91" fmla="*/ 942984 h 3367750"/>
                <a:gd name="connsiteX92" fmla="*/ 2357873 w 4911454"/>
                <a:gd name="connsiteY92" fmla="*/ 918016 h 3367750"/>
                <a:gd name="connsiteX93" fmla="*/ 2359170 w 4911454"/>
                <a:gd name="connsiteY93" fmla="*/ 890835 h 3367750"/>
                <a:gd name="connsiteX94" fmla="*/ 2356819 w 4911454"/>
                <a:gd name="connsiteY94" fmla="*/ 841576 h 3367750"/>
                <a:gd name="connsiteX95" fmla="*/ 2356236 w 4911454"/>
                <a:gd name="connsiteY95" fmla="*/ 799340 h 3367750"/>
                <a:gd name="connsiteX96" fmla="*/ 2353784 w 4911454"/>
                <a:gd name="connsiteY96" fmla="*/ 778024 h 3367750"/>
                <a:gd name="connsiteX97" fmla="*/ 2352673 w 4911454"/>
                <a:gd name="connsiteY97" fmla="*/ 754750 h 3367750"/>
                <a:gd name="connsiteX98" fmla="*/ 2344957 w 4911454"/>
                <a:gd name="connsiteY98" fmla="*/ 701277 h 3367750"/>
                <a:gd name="connsiteX99" fmla="*/ 2339801 w 4911454"/>
                <a:gd name="connsiteY99" fmla="*/ 656451 h 3367750"/>
                <a:gd name="connsiteX100" fmla="*/ 2335958 w 4911454"/>
                <a:gd name="connsiteY100" fmla="*/ 638916 h 3367750"/>
                <a:gd name="connsiteX101" fmla="*/ 2333181 w 4911454"/>
                <a:gd name="connsiteY101" fmla="*/ 619675 h 3367750"/>
                <a:gd name="connsiteX102" fmla="*/ 2319115 w 4911454"/>
                <a:gd name="connsiteY102" fmla="*/ 562065 h 3367750"/>
                <a:gd name="connsiteX103" fmla="*/ 2308910 w 4911454"/>
                <a:gd name="connsiteY103" fmla="*/ 515501 h 3367750"/>
                <a:gd name="connsiteX104" fmla="*/ 2304396 w 4911454"/>
                <a:gd name="connsiteY104" fmla="*/ 501780 h 3367750"/>
                <a:gd name="connsiteX105" fmla="*/ 2300695 w 4911454"/>
                <a:gd name="connsiteY105" fmla="*/ 486619 h 3367750"/>
                <a:gd name="connsiteX106" fmla="*/ 2279045 w 4911454"/>
                <a:gd name="connsiteY106" fmla="*/ 424724 h 3367750"/>
                <a:gd name="connsiteX107" fmla="*/ 2263565 w 4911454"/>
                <a:gd name="connsiteY107" fmla="*/ 377672 h 3367750"/>
                <a:gd name="connsiteX108" fmla="*/ 2259101 w 4911454"/>
                <a:gd name="connsiteY108" fmla="*/ 367704 h 3367750"/>
                <a:gd name="connsiteX109" fmla="*/ 2255213 w 4911454"/>
                <a:gd name="connsiteY109" fmla="*/ 356590 h 3367750"/>
                <a:gd name="connsiteX110" fmla="*/ 2224095 w 4911454"/>
                <a:gd name="connsiteY110" fmla="*/ 289542 h 3367750"/>
                <a:gd name="connsiteX111" fmla="*/ 2203765 w 4911454"/>
                <a:gd name="connsiteY111" fmla="*/ 244150 h 3367750"/>
                <a:gd name="connsiteX112" fmla="*/ 2200071 w 4911454"/>
                <a:gd name="connsiteY112" fmla="*/ 237780 h 3367750"/>
                <a:gd name="connsiteX113" fmla="*/ 2196737 w 4911454"/>
                <a:gd name="connsiteY113" fmla="*/ 230598 h 3367750"/>
                <a:gd name="connsiteX114" fmla="*/ 2151877 w 4911454"/>
                <a:gd name="connsiteY114" fmla="*/ 154684 h 3367750"/>
                <a:gd name="connsiteX115" fmla="*/ 2129511 w 4911454"/>
                <a:gd name="connsiteY115" fmla="*/ 116118 h 3367750"/>
                <a:gd name="connsiteX116" fmla="*/ 2127305 w 4911454"/>
                <a:gd name="connsiteY116" fmla="*/ 113101 h 3367750"/>
                <a:gd name="connsiteX117" fmla="*/ 2125267 w 4911454"/>
                <a:gd name="connsiteY117" fmla="*/ 109652 h 336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911454" h="3367750">
                  <a:moveTo>
                    <a:pt x="2044653" y="0"/>
                  </a:moveTo>
                  <a:lnTo>
                    <a:pt x="2085828" y="37422"/>
                  </a:lnTo>
                  <a:cubicBezTo>
                    <a:pt x="2466787" y="351817"/>
                    <a:pt x="2955185" y="540679"/>
                    <a:pt x="3487694" y="540679"/>
                  </a:cubicBezTo>
                  <a:lnTo>
                    <a:pt x="3612326" y="534386"/>
                  </a:lnTo>
                  <a:lnTo>
                    <a:pt x="3636886" y="535626"/>
                  </a:lnTo>
                  <a:cubicBezTo>
                    <a:pt x="4352792" y="608330"/>
                    <a:pt x="4911454" y="1212935"/>
                    <a:pt x="4911454" y="1948023"/>
                  </a:cubicBezTo>
                  <a:cubicBezTo>
                    <a:pt x="4911454" y="2732117"/>
                    <a:pt x="4275821" y="3367750"/>
                    <a:pt x="3491727" y="3367750"/>
                  </a:cubicBezTo>
                  <a:lnTo>
                    <a:pt x="3402699" y="3363254"/>
                  </a:lnTo>
                  <a:lnTo>
                    <a:pt x="3402699" y="3365499"/>
                  </a:lnTo>
                  <a:lnTo>
                    <a:pt x="3232925" y="3361206"/>
                  </a:lnTo>
                  <a:cubicBezTo>
                    <a:pt x="2032864" y="3300375"/>
                    <a:pt x="943787" y="2818886"/>
                    <a:pt x="110207" y="2061255"/>
                  </a:cubicBezTo>
                  <a:lnTo>
                    <a:pt x="0" y="1956182"/>
                  </a:lnTo>
                  <a:lnTo>
                    <a:pt x="1676" y="1954506"/>
                  </a:lnTo>
                  <a:lnTo>
                    <a:pt x="38047" y="1987380"/>
                  </a:lnTo>
                  <a:lnTo>
                    <a:pt x="43370" y="1992192"/>
                  </a:lnTo>
                  <a:lnTo>
                    <a:pt x="43371" y="1992193"/>
                  </a:lnTo>
                  <a:lnTo>
                    <a:pt x="43391" y="1992207"/>
                  </a:lnTo>
                  <a:lnTo>
                    <a:pt x="150892" y="2071759"/>
                  </a:lnTo>
                  <a:lnTo>
                    <a:pt x="154833" y="2074138"/>
                  </a:lnTo>
                  <a:lnTo>
                    <a:pt x="158261" y="2076658"/>
                  </a:lnTo>
                  <a:lnTo>
                    <a:pt x="193876" y="2097704"/>
                  </a:lnTo>
                  <a:lnTo>
                    <a:pt x="263791" y="2139904"/>
                  </a:lnTo>
                  <a:lnTo>
                    <a:pt x="271995" y="2143867"/>
                  </a:lnTo>
                  <a:lnTo>
                    <a:pt x="279207" y="2148129"/>
                  </a:lnTo>
                  <a:lnTo>
                    <a:pt x="320478" y="2167283"/>
                  </a:lnTo>
                  <a:lnTo>
                    <a:pt x="381237" y="2196629"/>
                  </a:lnTo>
                  <a:lnTo>
                    <a:pt x="393942" y="2201380"/>
                  </a:lnTo>
                  <a:lnTo>
                    <a:pt x="405199" y="2206604"/>
                  </a:lnTo>
                  <a:lnTo>
                    <a:pt x="447269" y="2221320"/>
                  </a:lnTo>
                  <a:lnTo>
                    <a:pt x="502397" y="2241933"/>
                  </a:lnTo>
                  <a:lnTo>
                    <a:pt x="519762" y="2246676"/>
                  </a:lnTo>
                  <a:lnTo>
                    <a:pt x="535228" y="2252086"/>
                  </a:lnTo>
                  <a:lnTo>
                    <a:pt x="576099" y="2262064"/>
                  </a:lnTo>
                  <a:lnTo>
                    <a:pt x="626439" y="2275815"/>
                  </a:lnTo>
                  <a:lnTo>
                    <a:pt x="648548" y="2279753"/>
                  </a:lnTo>
                  <a:lnTo>
                    <a:pt x="668284" y="2284572"/>
                  </a:lnTo>
                  <a:lnTo>
                    <a:pt x="706805" y="2290131"/>
                  </a:lnTo>
                  <a:lnTo>
                    <a:pt x="752533" y="2298277"/>
                  </a:lnTo>
                  <a:lnTo>
                    <a:pt x="779394" y="2300606"/>
                  </a:lnTo>
                  <a:lnTo>
                    <a:pt x="803359" y="2304064"/>
                  </a:lnTo>
                  <a:lnTo>
                    <a:pt x="838770" y="2305755"/>
                  </a:lnTo>
                  <a:lnTo>
                    <a:pt x="879846" y="2309317"/>
                  </a:lnTo>
                  <a:lnTo>
                    <a:pt x="911406" y="2309223"/>
                  </a:lnTo>
                  <a:lnTo>
                    <a:pt x="939444" y="2310562"/>
                  </a:lnTo>
                  <a:lnTo>
                    <a:pt x="971216" y="2309045"/>
                  </a:lnTo>
                  <a:lnTo>
                    <a:pt x="1007548" y="2308936"/>
                  </a:lnTo>
                  <a:lnTo>
                    <a:pt x="1043695" y="2305584"/>
                  </a:lnTo>
                  <a:lnTo>
                    <a:pt x="1075528" y="2304064"/>
                  </a:lnTo>
                  <a:lnTo>
                    <a:pt x="1103304" y="2300056"/>
                  </a:lnTo>
                  <a:lnTo>
                    <a:pt x="1134806" y="2297134"/>
                  </a:lnTo>
                  <a:lnTo>
                    <a:pt x="1175388" y="2289654"/>
                  </a:lnTo>
                  <a:lnTo>
                    <a:pt x="1210603" y="2284572"/>
                  </a:lnTo>
                  <a:lnTo>
                    <a:pt x="1234166" y="2278819"/>
                  </a:lnTo>
                  <a:lnTo>
                    <a:pt x="1260789" y="2273912"/>
                  </a:lnTo>
                  <a:lnTo>
                    <a:pt x="1305641" y="2261368"/>
                  </a:lnTo>
                  <a:lnTo>
                    <a:pt x="1343659" y="2252086"/>
                  </a:lnTo>
                  <a:lnTo>
                    <a:pt x="1362914" y="2245351"/>
                  </a:lnTo>
                  <a:lnTo>
                    <a:pt x="1384665" y="2239268"/>
                  </a:lnTo>
                  <a:lnTo>
                    <a:pt x="1433669" y="2220602"/>
                  </a:lnTo>
                  <a:lnTo>
                    <a:pt x="1473688" y="2206604"/>
                  </a:lnTo>
                  <a:lnTo>
                    <a:pt x="1488652" y="2199659"/>
                  </a:lnTo>
                  <a:lnTo>
                    <a:pt x="1505603" y="2193203"/>
                  </a:lnTo>
                  <a:lnTo>
                    <a:pt x="1558831" y="2167087"/>
                  </a:lnTo>
                  <a:lnTo>
                    <a:pt x="1599680" y="2148129"/>
                  </a:lnTo>
                  <a:lnTo>
                    <a:pt x="1610474" y="2141750"/>
                  </a:lnTo>
                  <a:lnTo>
                    <a:pt x="1622771" y="2135717"/>
                  </a:lnTo>
                  <a:lnTo>
                    <a:pt x="1680914" y="2100125"/>
                  </a:lnTo>
                  <a:lnTo>
                    <a:pt x="1720626" y="2076658"/>
                  </a:lnTo>
                  <a:lnTo>
                    <a:pt x="1727473" y="2071624"/>
                  </a:lnTo>
                  <a:lnTo>
                    <a:pt x="1735338" y="2066810"/>
                  </a:lnTo>
                  <a:lnTo>
                    <a:pt x="1801558" y="2017158"/>
                  </a:lnTo>
                  <a:lnTo>
                    <a:pt x="1835516" y="1992193"/>
                  </a:lnTo>
                  <a:lnTo>
                    <a:pt x="1838737" y="1989282"/>
                  </a:lnTo>
                  <a:lnTo>
                    <a:pt x="1842472" y="1986481"/>
                  </a:lnTo>
                  <a:lnTo>
                    <a:pt x="1943022" y="1895022"/>
                  </a:lnTo>
                  <a:lnTo>
                    <a:pt x="1943342" y="1894733"/>
                  </a:lnTo>
                  <a:lnTo>
                    <a:pt x="1943631" y="1894413"/>
                  </a:lnTo>
                  <a:lnTo>
                    <a:pt x="2035090" y="1793863"/>
                  </a:lnTo>
                  <a:lnTo>
                    <a:pt x="2037890" y="1790128"/>
                  </a:lnTo>
                  <a:lnTo>
                    <a:pt x="2040802" y="1786907"/>
                  </a:lnTo>
                  <a:lnTo>
                    <a:pt x="2065765" y="1752952"/>
                  </a:lnTo>
                  <a:lnTo>
                    <a:pt x="2092361" y="1717481"/>
                  </a:lnTo>
                  <a:lnTo>
                    <a:pt x="2092497" y="1716591"/>
                  </a:lnTo>
                  <a:lnTo>
                    <a:pt x="2125267" y="1672017"/>
                  </a:lnTo>
                  <a:cubicBezTo>
                    <a:pt x="2229224" y="1514568"/>
                    <a:pt x="2298529" y="1340972"/>
                    <a:pt x="2333181" y="1161994"/>
                  </a:cubicBezTo>
                  <a:lnTo>
                    <a:pt x="2339042" y="1121377"/>
                  </a:lnTo>
                  <a:lnTo>
                    <a:pt x="2339330" y="1120992"/>
                  </a:lnTo>
                  <a:lnTo>
                    <a:pt x="2345743" y="1086197"/>
                  </a:lnTo>
                  <a:lnTo>
                    <a:pt x="2348216" y="1057808"/>
                  </a:lnTo>
                  <a:lnTo>
                    <a:pt x="2352673" y="1026919"/>
                  </a:lnTo>
                  <a:lnTo>
                    <a:pt x="2354817" y="982021"/>
                  </a:lnTo>
                  <a:lnTo>
                    <a:pt x="2358217" y="942984"/>
                  </a:lnTo>
                  <a:lnTo>
                    <a:pt x="2357873" y="918016"/>
                  </a:lnTo>
                  <a:lnTo>
                    <a:pt x="2359170" y="890835"/>
                  </a:lnTo>
                  <a:lnTo>
                    <a:pt x="2356819" y="841576"/>
                  </a:lnTo>
                  <a:lnTo>
                    <a:pt x="2356236" y="799340"/>
                  </a:lnTo>
                  <a:lnTo>
                    <a:pt x="2353784" y="778024"/>
                  </a:lnTo>
                  <a:lnTo>
                    <a:pt x="2352673" y="754750"/>
                  </a:lnTo>
                  <a:lnTo>
                    <a:pt x="2344957" y="701277"/>
                  </a:lnTo>
                  <a:lnTo>
                    <a:pt x="2339801" y="656451"/>
                  </a:lnTo>
                  <a:lnTo>
                    <a:pt x="2335958" y="638916"/>
                  </a:lnTo>
                  <a:lnTo>
                    <a:pt x="2333181" y="619675"/>
                  </a:lnTo>
                  <a:lnTo>
                    <a:pt x="2319115" y="562065"/>
                  </a:lnTo>
                  <a:lnTo>
                    <a:pt x="2308910" y="515501"/>
                  </a:lnTo>
                  <a:lnTo>
                    <a:pt x="2304396" y="501780"/>
                  </a:lnTo>
                  <a:lnTo>
                    <a:pt x="2300695" y="486619"/>
                  </a:lnTo>
                  <a:lnTo>
                    <a:pt x="2279045" y="424724"/>
                  </a:lnTo>
                  <a:lnTo>
                    <a:pt x="2263565" y="377672"/>
                  </a:lnTo>
                  <a:lnTo>
                    <a:pt x="2259101" y="367704"/>
                  </a:lnTo>
                  <a:lnTo>
                    <a:pt x="2255213" y="356590"/>
                  </a:lnTo>
                  <a:lnTo>
                    <a:pt x="2224095" y="289542"/>
                  </a:lnTo>
                  <a:lnTo>
                    <a:pt x="2203765" y="244150"/>
                  </a:lnTo>
                  <a:lnTo>
                    <a:pt x="2200071" y="237780"/>
                  </a:lnTo>
                  <a:lnTo>
                    <a:pt x="2196737" y="230598"/>
                  </a:lnTo>
                  <a:lnTo>
                    <a:pt x="2151877" y="154684"/>
                  </a:lnTo>
                  <a:lnTo>
                    <a:pt x="2129511" y="116118"/>
                  </a:lnTo>
                  <a:lnTo>
                    <a:pt x="2127305" y="113101"/>
                  </a:lnTo>
                  <a:lnTo>
                    <a:pt x="2125267" y="109652"/>
                  </a:lnTo>
                  <a:close/>
                </a:path>
              </a:pathLst>
            </a:custGeom>
            <a:solidFill>
              <a:srgbClr val="EE55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39" name="Freeform 38">
              <a:extLst>
                <a:ext uri="{FF2B5EF4-FFF2-40B4-BE49-F238E27FC236}">
                  <a16:creationId xmlns:a16="http://schemas.microsoft.com/office/drawing/2014/main" id="{C77B8974-4B18-B04C-BB8F-DCD4E581D525}"/>
                </a:ext>
              </a:extLst>
            </p:cNvPr>
            <p:cNvSpPr/>
            <p:nvPr/>
          </p:nvSpPr>
          <p:spPr>
            <a:xfrm>
              <a:off x="3544372" y="3966917"/>
              <a:ext cx="1947196" cy="1941491"/>
            </a:xfrm>
            <a:custGeom>
              <a:avLst/>
              <a:gdLst>
                <a:gd name="connsiteX0" fmla="*/ 0 w 3894391"/>
                <a:gd name="connsiteY0" fmla="*/ 0 h 3882982"/>
                <a:gd name="connsiteX1" fmla="*/ 2244 w 3894391"/>
                <a:gd name="connsiteY1" fmla="*/ 0 h 3882982"/>
                <a:gd name="connsiteX2" fmla="*/ 5078 w 3894391"/>
                <a:gd name="connsiteY2" fmla="*/ 56130 h 3882982"/>
                <a:gd name="connsiteX3" fmla="*/ 5083 w 3894391"/>
                <a:gd name="connsiteY3" fmla="*/ 56161 h 3882982"/>
                <a:gd name="connsiteX4" fmla="*/ 24846 w 3894391"/>
                <a:gd name="connsiteY4" fmla="*/ 188422 h 3882982"/>
                <a:gd name="connsiteX5" fmla="*/ 25951 w 3894391"/>
                <a:gd name="connsiteY5" fmla="*/ 192892 h 3882982"/>
                <a:gd name="connsiteX6" fmla="*/ 26592 w 3894391"/>
                <a:gd name="connsiteY6" fmla="*/ 197096 h 3882982"/>
                <a:gd name="connsiteX7" fmla="*/ 36887 w 3894391"/>
                <a:gd name="connsiteY7" fmla="*/ 237135 h 3882982"/>
                <a:gd name="connsiteX8" fmla="*/ 56491 w 3894391"/>
                <a:gd name="connsiteY8" fmla="*/ 316440 h 3882982"/>
                <a:gd name="connsiteX9" fmla="*/ 59491 w 3894391"/>
                <a:gd name="connsiteY9" fmla="*/ 325046 h 3882982"/>
                <a:gd name="connsiteX10" fmla="*/ 61576 w 3894391"/>
                <a:gd name="connsiteY10" fmla="*/ 333155 h 3882982"/>
                <a:gd name="connsiteX11" fmla="*/ 77205 w 3894391"/>
                <a:gd name="connsiteY11" fmla="*/ 375856 h 3882982"/>
                <a:gd name="connsiteX12" fmla="*/ 99427 w 3894391"/>
                <a:gd name="connsiteY12" fmla="*/ 439597 h 3882982"/>
                <a:gd name="connsiteX13" fmla="*/ 105054 w 3894391"/>
                <a:gd name="connsiteY13" fmla="*/ 451945 h 3882982"/>
                <a:gd name="connsiteX14" fmla="*/ 109317 w 3894391"/>
                <a:gd name="connsiteY14" fmla="*/ 463593 h 3882982"/>
                <a:gd name="connsiteX15" fmla="*/ 128649 w 3894391"/>
                <a:gd name="connsiteY15" fmla="*/ 503724 h 3882982"/>
                <a:gd name="connsiteX16" fmla="*/ 153066 w 3894391"/>
                <a:gd name="connsiteY16" fmla="*/ 557304 h 3882982"/>
                <a:gd name="connsiteX17" fmla="*/ 161995 w 3894391"/>
                <a:gd name="connsiteY17" fmla="*/ 572945 h 3882982"/>
                <a:gd name="connsiteX18" fmla="*/ 169102 w 3894391"/>
                <a:gd name="connsiteY18" fmla="*/ 587697 h 3882982"/>
                <a:gd name="connsiteX19" fmla="*/ 190933 w 3894391"/>
                <a:gd name="connsiteY19" fmla="*/ 623632 h 3882982"/>
                <a:gd name="connsiteX20" fmla="*/ 216818 w 3894391"/>
                <a:gd name="connsiteY20" fmla="*/ 668974 h 3882982"/>
                <a:gd name="connsiteX21" fmla="*/ 229673 w 3894391"/>
                <a:gd name="connsiteY21" fmla="*/ 687401 h 3882982"/>
                <a:gd name="connsiteX22" fmla="*/ 240215 w 3894391"/>
                <a:gd name="connsiteY22" fmla="*/ 704754 h 3882982"/>
                <a:gd name="connsiteX23" fmla="*/ 263510 w 3894391"/>
                <a:gd name="connsiteY23" fmla="*/ 735905 h 3882982"/>
                <a:gd name="connsiteX24" fmla="*/ 290098 w 3894391"/>
                <a:gd name="connsiteY24" fmla="*/ 774018 h 3882982"/>
                <a:gd name="connsiteX25" fmla="*/ 307453 w 3894391"/>
                <a:gd name="connsiteY25" fmla="*/ 794670 h 3882982"/>
                <a:gd name="connsiteX26" fmla="*/ 321945 w 3894391"/>
                <a:gd name="connsiteY26" fmla="*/ 814049 h 3882982"/>
                <a:gd name="connsiteX27" fmla="*/ 345774 w 3894391"/>
                <a:gd name="connsiteY27" fmla="*/ 840269 h 3882982"/>
                <a:gd name="connsiteX28" fmla="*/ 372315 w 3894391"/>
                <a:gd name="connsiteY28" fmla="*/ 871849 h 3882982"/>
                <a:gd name="connsiteX29" fmla="*/ 394709 w 3894391"/>
                <a:gd name="connsiteY29" fmla="*/ 894110 h 3882982"/>
                <a:gd name="connsiteX30" fmla="*/ 413577 w 3894391"/>
                <a:gd name="connsiteY30" fmla="*/ 914870 h 3882982"/>
                <a:gd name="connsiteX31" fmla="*/ 437101 w 3894391"/>
                <a:gd name="connsiteY31" fmla="*/ 936250 h 3882982"/>
                <a:gd name="connsiteX32" fmla="*/ 462883 w 3894391"/>
                <a:gd name="connsiteY32" fmla="*/ 961879 h 3882982"/>
                <a:gd name="connsiteX33" fmla="*/ 490829 w 3894391"/>
                <a:gd name="connsiteY33" fmla="*/ 985081 h 3882982"/>
                <a:gd name="connsiteX34" fmla="*/ 514397 w 3894391"/>
                <a:gd name="connsiteY34" fmla="*/ 1006502 h 3882982"/>
                <a:gd name="connsiteX35" fmla="*/ 536857 w 3894391"/>
                <a:gd name="connsiteY35" fmla="*/ 1023297 h 3882982"/>
                <a:gd name="connsiteX36" fmla="*/ 561213 w 3894391"/>
                <a:gd name="connsiteY36" fmla="*/ 1043519 h 3882982"/>
                <a:gd name="connsiteX37" fmla="*/ 595218 w 3894391"/>
                <a:gd name="connsiteY37" fmla="*/ 1066938 h 3882982"/>
                <a:gd name="connsiteX38" fmla="*/ 623692 w 3894391"/>
                <a:gd name="connsiteY38" fmla="*/ 1088231 h 3882982"/>
                <a:gd name="connsiteX39" fmla="*/ 644407 w 3894391"/>
                <a:gd name="connsiteY39" fmla="*/ 1100816 h 3882982"/>
                <a:gd name="connsiteX40" fmla="*/ 666717 w 3894391"/>
                <a:gd name="connsiteY40" fmla="*/ 1116181 h 3882982"/>
                <a:gd name="connsiteX41" fmla="*/ 684240 w 3894391"/>
                <a:gd name="connsiteY41" fmla="*/ 1125015 h 3882982"/>
                <a:gd name="connsiteX42" fmla="*/ 740749 w 3894391"/>
                <a:gd name="connsiteY42" fmla="*/ 1159345 h 3882982"/>
                <a:gd name="connsiteX43" fmla="*/ 864853 w 3894391"/>
                <a:gd name="connsiteY43" fmla="*/ 1219129 h 3882982"/>
                <a:gd name="connsiteX44" fmla="*/ 880660 w 3894391"/>
                <a:gd name="connsiteY44" fmla="*/ 1224036 h 3882982"/>
                <a:gd name="connsiteX45" fmla="*/ 896897 w 3894391"/>
                <a:gd name="connsiteY45" fmla="*/ 1232221 h 3882982"/>
                <a:gd name="connsiteX46" fmla="*/ 1052329 w 3894391"/>
                <a:gd name="connsiteY46" fmla="*/ 1277325 h 3882982"/>
                <a:gd name="connsiteX47" fmla="*/ 1131351 w 3894391"/>
                <a:gd name="connsiteY47" fmla="*/ 1301854 h 3882982"/>
                <a:gd name="connsiteX48" fmla="*/ 1142975 w 3894391"/>
                <a:gd name="connsiteY48" fmla="*/ 1303628 h 3882982"/>
                <a:gd name="connsiteX49" fmla="*/ 1148718 w 3894391"/>
                <a:gd name="connsiteY49" fmla="*/ 1305295 h 3882982"/>
                <a:gd name="connsiteX50" fmla="*/ 1162316 w 3894391"/>
                <a:gd name="connsiteY50" fmla="*/ 1306580 h 3882982"/>
                <a:gd name="connsiteX51" fmla="*/ 1272316 w 3894391"/>
                <a:gd name="connsiteY51" fmla="*/ 1323368 h 3882982"/>
                <a:gd name="connsiteX52" fmla="*/ 1417475 w 3894391"/>
                <a:gd name="connsiteY52" fmla="*/ 1330698 h 3882982"/>
                <a:gd name="connsiteX53" fmla="*/ 1553677 w 3894391"/>
                <a:gd name="connsiteY53" fmla="*/ 1324249 h 3882982"/>
                <a:gd name="connsiteX54" fmla="*/ 1558311 w 3894391"/>
                <a:gd name="connsiteY54" fmla="*/ 1323587 h 3882982"/>
                <a:gd name="connsiteX55" fmla="*/ 1562634 w 3894391"/>
                <a:gd name="connsiteY55" fmla="*/ 1323368 h 3882982"/>
                <a:gd name="connsiteX56" fmla="*/ 1604154 w 3894391"/>
                <a:gd name="connsiteY56" fmla="*/ 1317031 h 3882982"/>
                <a:gd name="connsiteX57" fmla="*/ 1648182 w 3894391"/>
                <a:gd name="connsiteY57" fmla="*/ 1310736 h 3882982"/>
                <a:gd name="connsiteX58" fmla="*/ 1648910 w 3894391"/>
                <a:gd name="connsiteY58" fmla="*/ 1310201 h 3882982"/>
                <a:gd name="connsiteX59" fmla="*/ 1703600 w 3894391"/>
                <a:gd name="connsiteY59" fmla="*/ 1301854 h 3882982"/>
                <a:gd name="connsiteX60" fmla="*/ 2211258 w 3894391"/>
                <a:gd name="connsiteY60" fmla="*/ 1088231 h 3882982"/>
                <a:gd name="connsiteX61" fmla="*/ 2244122 w 3894391"/>
                <a:gd name="connsiteY61" fmla="*/ 1063656 h 3882982"/>
                <a:gd name="connsiteX62" fmla="*/ 2244598 w 3894391"/>
                <a:gd name="connsiteY62" fmla="*/ 1063587 h 3882982"/>
                <a:gd name="connsiteX63" fmla="*/ 2273737 w 3894391"/>
                <a:gd name="connsiteY63" fmla="*/ 1043519 h 3882982"/>
                <a:gd name="connsiteX64" fmla="*/ 2295578 w 3894391"/>
                <a:gd name="connsiteY64" fmla="*/ 1025178 h 3882982"/>
                <a:gd name="connsiteX65" fmla="*/ 2320553 w 3894391"/>
                <a:gd name="connsiteY65" fmla="*/ 1006502 h 3882982"/>
                <a:gd name="connsiteX66" fmla="*/ 2353793 w 3894391"/>
                <a:gd name="connsiteY66" fmla="*/ 976291 h 3882982"/>
                <a:gd name="connsiteX67" fmla="*/ 2383825 w 3894391"/>
                <a:gd name="connsiteY67" fmla="*/ 951072 h 3882982"/>
                <a:gd name="connsiteX68" fmla="*/ 2401249 w 3894391"/>
                <a:gd name="connsiteY68" fmla="*/ 933161 h 3882982"/>
                <a:gd name="connsiteX69" fmla="*/ 2421374 w 3894391"/>
                <a:gd name="connsiteY69" fmla="*/ 914870 h 3882982"/>
                <a:gd name="connsiteX70" fmla="*/ 2454522 w 3894391"/>
                <a:gd name="connsiteY70" fmla="*/ 878398 h 3882982"/>
                <a:gd name="connsiteX71" fmla="*/ 2483995 w 3894391"/>
                <a:gd name="connsiteY71" fmla="*/ 848100 h 3882982"/>
                <a:gd name="connsiteX72" fmla="*/ 2497343 w 3894391"/>
                <a:gd name="connsiteY72" fmla="*/ 831282 h 3882982"/>
                <a:gd name="connsiteX73" fmla="*/ 2513006 w 3894391"/>
                <a:gd name="connsiteY73" fmla="*/ 814049 h 3882982"/>
                <a:gd name="connsiteX74" fmla="*/ 2545343 w 3894391"/>
                <a:gd name="connsiteY74" fmla="*/ 770805 h 3882982"/>
                <a:gd name="connsiteX75" fmla="*/ 2573411 w 3894391"/>
                <a:gd name="connsiteY75" fmla="*/ 735440 h 3882982"/>
                <a:gd name="connsiteX76" fmla="*/ 2583099 w 3894391"/>
                <a:gd name="connsiteY76" fmla="*/ 720315 h 3882982"/>
                <a:gd name="connsiteX77" fmla="*/ 2594735 w 3894391"/>
                <a:gd name="connsiteY77" fmla="*/ 704754 h 3882982"/>
                <a:gd name="connsiteX78" fmla="*/ 2625510 w 3894391"/>
                <a:gd name="connsiteY78" fmla="*/ 654097 h 3882982"/>
                <a:gd name="connsiteX79" fmla="*/ 2651236 w 3894391"/>
                <a:gd name="connsiteY79" fmla="*/ 613930 h 3882982"/>
                <a:gd name="connsiteX80" fmla="*/ 2657750 w 3894391"/>
                <a:gd name="connsiteY80" fmla="*/ 601029 h 3882982"/>
                <a:gd name="connsiteX81" fmla="*/ 2665849 w 3894391"/>
                <a:gd name="connsiteY81" fmla="*/ 587697 h 3882982"/>
                <a:gd name="connsiteX82" fmla="*/ 2694294 w 3894391"/>
                <a:gd name="connsiteY82" fmla="*/ 528649 h 3882982"/>
                <a:gd name="connsiteX83" fmla="*/ 2716631 w 3894391"/>
                <a:gd name="connsiteY83" fmla="*/ 484407 h 3882982"/>
                <a:gd name="connsiteX84" fmla="*/ 2720525 w 3894391"/>
                <a:gd name="connsiteY84" fmla="*/ 474196 h 3882982"/>
                <a:gd name="connsiteX85" fmla="*/ 2725633 w 3894391"/>
                <a:gd name="connsiteY85" fmla="*/ 463593 h 3882982"/>
                <a:gd name="connsiteX86" fmla="*/ 2751029 w 3894391"/>
                <a:gd name="connsiteY86" fmla="*/ 394206 h 3882982"/>
                <a:gd name="connsiteX87" fmla="*/ 2768761 w 3894391"/>
                <a:gd name="connsiteY87" fmla="*/ 347708 h 3882982"/>
                <a:gd name="connsiteX88" fmla="*/ 2770654 w 3894391"/>
                <a:gd name="connsiteY88" fmla="*/ 340587 h 3882982"/>
                <a:gd name="connsiteX89" fmla="*/ 2773374 w 3894391"/>
                <a:gd name="connsiteY89" fmla="*/ 333155 h 3882982"/>
                <a:gd name="connsiteX90" fmla="*/ 2795327 w 3894391"/>
                <a:gd name="connsiteY90" fmla="*/ 247777 h 3882982"/>
                <a:gd name="connsiteX91" fmla="*/ 2806787 w 3894391"/>
                <a:gd name="connsiteY91" fmla="*/ 204670 h 3882982"/>
                <a:gd name="connsiteX92" fmla="*/ 2807361 w 3894391"/>
                <a:gd name="connsiteY92" fmla="*/ 200975 h 3882982"/>
                <a:gd name="connsiteX93" fmla="*/ 2808358 w 3894391"/>
                <a:gd name="connsiteY93" fmla="*/ 197096 h 3882982"/>
                <a:gd name="connsiteX94" fmla="*/ 2827311 w 3894391"/>
                <a:gd name="connsiteY94" fmla="*/ 72915 h 3882982"/>
                <a:gd name="connsiteX95" fmla="*/ 2830423 w 3894391"/>
                <a:gd name="connsiteY95" fmla="*/ 134563 h 3882982"/>
                <a:gd name="connsiteX96" fmla="*/ 3464544 w 3894391"/>
                <a:gd name="connsiteY96" fmla="*/ 1467602 h 3882982"/>
                <a:gd name="connsiteX97" fmla="*/ 3579874 w 3894391"/>
                <a:gd name="connsiteY97" fmla="*/ 1572421 h 3882982"/>
                <a:gd name="connsiteX98" fmla="*/ 3660488 w 3894391"/>
                <a:gd name="connsiteY98" fmla="*/ 1682073 h 3882982"/>
                <a:gd name="connsiteX99" fmla="*/ 3478563 w 3894391"/>
                <a:gd name="connsiteY99" fmla="*/ 3467154 h 3882982"/>
                <a:gd name="connsiteX100" fmla="*/ 1470766 w 3894391"/>
                <a:gd name="connsiteY100" fmla="*/ 3467154 h 3882982"/>
                <a:gd name="connsiteX101" fmla="*/ 1410992 w 3894391"/>
                <a:gd name="connsiteY101" fmla="*/ 3401022 h 3882982"/>
                <a:gd name="connsiteX102" fmla="*/ 1409316 w 3894391"/>
                <a:gd name="connsiteY102" fmla="*/ 3402698 h 3882982"/>
                <a:gd name="connsiteX103" fmla="*/ 1304244 w 3894391"/>
                <a:gd name="connsiteY103" fmla="*/ 3292491 h 3882982"/>
                <a:gd name="connsiteX104" fmla="*/ 4293 w 3894391"/>
                <a:gd name="connsiteY104" fmla="*/ 169773 h 388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894391" h="3882982">
                  <a:moveTo>
                    <a:pt x="0" y="0"/>
                  </a:moveTo>
                  <a:lnTo>
                    <a:pt x="2244" y="0"/>
                  </a:lnTo>
                  <a:lnTo>
                    <a:pt x="5078" y="56130"/>
                  </a:lnTo>
                  <a:lnTo>
                    <a:pt x="5083" y="56161"/>
                  </a:lnTo>
                  <a:lnTo>
                    <a:pt x="24846" y="188422"/>
                  </a:lnTo>
                  <a:lnTo>
                    <a:pt x="25951" y="192892"/>
                  </a:lnTo>
                  <a:lnTo>
                    <a:pt x="26592" y="197096"/>
                  </a:lnTo>
                  <a:lnTo>
                    <a:pt x="36887" y="237135"/>
                  </a:lnTo>
                  <a:lnTo>
                    <a:pt x="56491" y="316440"/>
                  </a:lnTo>
                  <a:lnTo>
                    <a:pt x="59491" y="325046"/>
                  </a:lnTo>
                  <a:lnTo>
                    <a:pt x="61576" y="333155"/>
                  </a:lnTo>
                  <a:lnTo>
                    <a:pt x="77205" y="375856"/>
                  </a:lnTo>
                  <a:lnTo>
                    <a:pt x="99427" y="439597"/>
                  </a:lnTo>
                  <a:lnTo>
                    <a:pt x="105054" y="451945"/>
                  </a:lnTo>
                  <a:lnTo>
                    <a:pt x="109317" y="463593"/>
                  </a:lnTo>
                  <a:lnTo>
                    <a:pt x="128649" y="503724"/>
                  </a:lnTo>
                  <a:lnTo>
                    <a:pt x="153066" y="557304"/>
                  </a:lnTo>
                  <a:lnTo>
                    <a:pt x="161995" y="572945"/>
                  </a:lnTo>
                  <a:lnTo>
                    <a:pt x="169102" y="587697"/>
                  </a:lnTo>
                  <a:lnTo>
                    <a:pt x="190933" y="623632"/>
                  </a:lnTo>
                  <a:lnTo>
                    <a:pt x="216818" y="668974"/>
                  </a:lnTo>
                  <a:lnTo>
                    <a:pt x="229673" y="687401"/>
                  </a:lnTo>
                  <a:lnTo>
                    <a:pt x="240215" y="704754"/>
                  </a:lnTo>
                  <a:lnTo>
                    <a:pt x="263510" y="735905"/>
                  </a:lnTo>
                  <a:lnTo>
                    <a:pt x="290098" y="774018"/>
                  </a:lnTo>
                  <a:lnTo>
                    <a:pt x="307453" y="794670"/>
                  </a:lnTo>
                  <a:lnTo>
                    <a:pt x="321945" y="814049"/>
                  </a:lnTo>
                  <a:lnTo>
                    <a:pt x="345774" y="840269"/>
                  </a:lnTo>
                  <a:lnTo>
                    <a:pt x="372315" y="871849"/>
                  </a:lnTo>
                  <a:lnTo>
                    <a:pt x="394709" y="894110"/>
                  </a:lnTo>
                  <a:lnTo>
                    <a:pt x="413577" y="914870"/>
                  </a:lnTo>
                  <a:lnTo>
                    <a:pt x="437101" y="936250"/>
                  </a:lnTo>
                  <a:lnTo>
                    <a:pt x="462883" y="961879"/>
                  </a:lnTo>
                  <a:lnTo>
                    <a:pt x="490829" y="985081"/>
                  </a:lnTo>
                  <a:lnTo>
                    <a:pt x="514397" y="1006502"/>
                  </a:lnTo>
                  <a:lnTo>
                    <a:pt x="536857" y="1023297"/>
                  </a:lnTo>
                  <a:lnTo>
                    <a:pt x="561213" y="1043519"/>
                  </a:lnTo>
                  <a:lnTo>
                    <a:pt x="595218" y="1066938"/>
                  </a:lnTo>
                  <a:lnTo>
                    <a:pt x="623692" y="1088231"/>
                  </a:lnTo>
                  <a:lnTo>
                    <a:pt x="644407" y="1100816"/>
                  </a:lnTo>
                  <a:lnTo>
                    <a:pt x="666717" y="1116181"/>
                  </a:lnTo>
                  <a:lnTo>
                    <a:pt x="684240" y="1125015"/>
                  </a:lnTo>
                  <a:lnTo>
                    <a:pt x="740749" y="1159345"/>
                  </a:lnTo>
                  <a:cubicBezTo>
                    <a:pt x="780982" y="1181201"/>
                    <a:pt x="822390" y="1201168"/>
                    <a:pt x="864853" y="1219129"/>
                  </a:cubicBezTo>
                  <a:lnTo>
                    <a:pt x="880660" y="1224036"/>
                  </a:lnTo>
                  <a:lnTo>
                    <a:pt x="896897" y="1232221"/>
                  </a:lnTo>
                  <a:lnTo>
                    <a:pt x="1052329" y="1277325"/>
                  </a:lnTo>
                  <a:lnTo>
                    <a:pt x="1131351" y="1301854"/>
                  </a:lnTo>
                  <a:lnTo>
                    <a:pt x="1142975" y="1303628"/>
                  </a:lnTo>
                  <a:lnTo>
                    <a:pt x="1148718" y="1305295"/>
                  </a:lnTo>
                  <a:lnTo>
                    <a:pt x="1162316" y="1306580"/>
                  </a:lnTo>
                  <a:lnTo>
                    <a:pt x="1272316" y="1323368"/>
                  </a:lnTo>
                  <a:cubicBezTo>
                    <a:pt x="1320043" y="1328215"/>
                    <a:pt x="1368469" y="1330698"/>
                    <a:pt x="1417475" y="1330698"/>
                  </a:cubicBezTo>
                  <a:cubicBezTo>
                    <a:pt x="1463418" y="1330698"/>
                    <a:pt x="1508851" y="1328516"/>
                    <a:pt x="1553677" y="1324249"/>
                  </a:cubicBezTo>
                  <a:lnTo>
                    <a:pt x="1558311" y="1323587"/>
                  </a:lnTo>
                  <a:lnTo>
                    <a:pt x="1562634" y="1323368"/>
                  </a:lnTo>
                  <a:lnTo>
                    <a:pt x="1604154" y="1317031"/>
                  </a:lnTo>
                  <a:lnTo>
                    <a:pt x="1648182" y="1310736"/>
                  </a:lnTo>
                  <a:lnTo>
                    <a:pt x="1648910" y="1310201"/>
                  </a:lnTo>
                  <a:lnTo>
                    <a:pt x="1703600" y="1301854"/>
                  </a:lnTo>
                  <a:cubicBezTo>
                    <a:pt x="1888441" y="1264030"/>
                    <a:pt x="2060198" y="1190285"/>
                    <a:pt x="2211258" y="1088231"/>
                  </a:cubicBezTo>
                  <a:lnTo>
                    <a:pt x="2244122" y="1063656"/>
                  </a:lnTo>
                  <a:lnTo>
                    <a:pt x="2244598" y="1063587"/>
                  </a:lnTo>
                  <a:lnTo>
                    <a:pt x="2273737" y="1043519"/>
                  </a:lnTo>
                  <a:lnTo>
                    <a:pt x="2295578" y="1025178"/>
                  </a:lnTo>
                  <a:lnTo>
                    <a:pt x="2320553" y="1006502"/>
                  </a:lnTo>
                  <a:lnTo>
                    <a:pt x="2353793" y="976291"/>
                  </a:lnTo>
                  <a:lnTo>
                    <a:pt x="2383825" y="951072"/>
                  </a:lnTo>
                  <a:lnTo>
                    <a:pt x="2401249" y="933161"/>
                  </a:lnTo>
                  <a:lnTo>
                    <a:pt x="2421374" y="914870"/>
                  </a:lnTo>
                  <a:lnTo>
                    <a:pt x="2454522" y="878398"/>
                  </a:lnTo>
                  <a:lnTo>
                    <a:pt x="2483995" y="848100"/>
                  </a:lnTo>
                  <a:lnTo>
                    <a:pt x="2497343" y="831282"/>
                  </a:lnTo>
                  <a:lnTo>
                    <a:pt x="2513006" y="814049"/>
                  </a:lnTo>
                  <a:lnTo>
                    <a:pt x="2545343" y="770805"/>
                  </a:lnTo>
                  <a:lnTo>
                    <a:pt x="2573411" y="735440"/>
                  </a:lnTo>
                  <a:lnTo>
                    <a:pt x="2583099" y="720315"/>
                  </a:lnTo>
                  <a:lnTo>
                    <a:pt x="2594735" y="704754"/>
                  </a:lnTo>
                  <a:lnTo>
                    <a:pt x="2625510" y="654097"/>
                  </a:lnTo>
                  <a:lnTo>
                    <a:pt x="2651236" y="613930"/>
                  </a:lnTo>
                  <a:lnTo>
                    <a:pt x="2657750" y="601029"/>
                  </a:lnTo>
                  <a:lnTo>
                    <a:pt x="2665849" y="587697"/>
                  </a:lnTo>
                  <a:lnTo>
                    <a:pt x="2694294" y="528649"/>
                  </a:lnTo>
                  <a:lnTo>
                    <a:pt x="2716631" y="484407"/>
                  </a:lnTo>
                  <a:lnTo>
                    <a:pt x="2720525" y="474196"/>
                  </a:lnTo>
                  <a:lnTo>
                    <a:pt x="2725633" y="463593"/>
                  </a:lnTo>
                  <a:lnTo>
                    <a:pt x="2751029" y="394206"/>
                  </a:lnTo>
                  <a:lnTo>
                    <a:pt x="2768761" y="347708"/>
                  </a:lnTo>
                  <a:lnTo>
                    <a:pt x="2770654" y="340587"/>
                  </a:lnTo>
                  <a:lnTo>
                    <a:pt x="2773374" y="333155"/>
                  </a:lnTo>
                  <a:lnTo>
                    <a:pt x="2795327" y="247777"/>
                  </a:lnTo>
                  <a:lnTo>
                    <a:pt x="2806787" y="204670"/>
                  </a:lnTo>
                  <a:lnTo>
                    <a:pt x="2807361" y="200975"/>
                  </a:lnTo>
                  <a:lnTo>
                    <a:pt x="2808358" y="197096"/>
                  </a:lnTo>
                  <a:lnTo>
                    <a:pt x="2827311" y="72915"/>
                  </a:lnTo>
                  <a:lnTo>
                    <a:pt x="2830423" y="134563"/>
                  </a:lnTo>
                  <a:cubicBezTo>
                    <a:pt x="2883092" y="653177"/>
                    <a:pt x="3115574" y="1118632"/>
                    <a:pt x="3464544" y="1467602"/>
                  </a:cubicBezTo>
                  <a:lnTo>
                    <a:pt x="3579874" y="1572421"/>
                  </a:lnTo>
                  <a:lnTo>
                    <a:pt x="3660488" y="1682073"/>
                  </a:lnTo>
                  <a:cubicBezTo>
                    <a:pt x="4024338" y="2233143"/>
                    <a:pt x="3963696" y="2982021"/>
                    <a:pt x="3478563" y="3467154"/>
                  </a:cubicBezTo>
                  <a:cubicBezTo>
                    <a:pt x="2924125" y="4021592"/>
                    <a:pt x="2025204" y="4021592"/>
                    <a:pt x="1470766" y="3467154"/>
                  </a:cubicBezTo>
                  <a:lnTo>
                    <a:pt x="1410992" y="3401022"/>
                  </a:lnTo>
                  <a:lnTo>
                    <a:pt x="1409316" y="3402698"/>
                  </a:lnTo>
                  <a:lnTo>
                    <a:pt x="1304244" y="3292491"/>
                  </a:lnTo>
                  <a:cubicBezTo>
                    <a:pt x="546613" y="2458911"/>
                    <a:pt x="65124" y="1369834"/>
                    <a:pt x="4293" y="169773"/>
                  </a:cubicBezTo>
                  <a:close/>
                </a:path>
              </a:pathLst>
            </a:custGeom>
            <a:solidFill>
              <a:srgbClr val="8252C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37" name="Freeform 36">
              <a:extLst>
                <a:ext uri="{FF2B5EF4-FFF2-40B4-BE49-F238E27FC236}">
                  <a16:creationId xmlns:a16="http://schemas.microsoft.com/office/drawing/2014/main" id="{5493571F-7B5A-1B47-8192-B7AA9DEE1A52}"/>
                </a:ext>
              </a:extLst>
            </p:cNvPr>
            <p:cNvSpPr/>
            <p:nvPr/>
          </p:nvSpPr>
          <p:spPr>
            <a:xfrm>
              <a:off x="3526970" y="2200495"/>
              <a:ext cx="1678314" cy="2455727"/>
            </a:xfrm>
            <a:custGeom>
              <a:avLst/>
              <a:gdLst>
                <a:gd name="connsiteX0" fmla="*/ 1411569 w 3356627"/>
                <a:gd name="connsiteY0" fmla="*/ 0 h 4911453"/>
                <a:gd name="connsiteX1" fmla="*/ 1413244 w 3356627"/>
                <a:gd name="connsiteY1" fmla="*/ 1675 h 4911453"/>
                <a:gd name="connsiteX2" fmla="*/ 1375557 w 3356627"/>
                <a:gd name="connsiteY2" fmla="*/ 43370 h 4911453"/>
                <a:gd name="connsiteX3" fmla="*/ 1375281 w 3356627"/>
                <a:gd name="connsiteY3" fmla="*/ 43745 h 4911453"/>
                <a:gd name="connsiteX4" fmla="*/ 1295991 w 3356627"/>
                <a:gd name="connsiteY4" fmla="*/ 150893 h 4911453"/>
                <a:gd name="connsiteX5" fmla="*/ 1293621 w 3356627"/>
                <a:gd name="connsiteY5" fmla="*/ 154821 h 4911453"/>
                <a:gd name="connsiteX6" fmla="*/ 1291092 w 3356627"/>
                <a:gd name="connsiteY6" fmla="*/ 158261 h 4911453"/>
                <a:gd name="connsiteX7" fmla="*/ 1269971 w 3356627"/>
                <a:gd name="connsiteY7" fmla="*/ 194001 h 4911453"/>
                <a:gd name="connsiteX8" fmla="*/ 1227846 w 3356627"/>
                <a:gd name="connsiteY8" fmla="*/ 263793 h 4911453"/>
                <a:gd name="connsiteX9" fmla="*/ 1223891 w 3356627"/>
                <a:gd name="connsiteY9" fmla="*/ 271981 h 4911453"/>
                <a:gd name="connsiteX10" fmla="*/ 1219621 w 3356627"/>
                <a:gd name="connsiteY10" fmla="*/ 279206 h 4911453"/>
                <a:gd name="connsiteX11" fmla="*/ 1200430 w 3356627"/>
                <a:gd name="connsiteY11" fmla="*/ 320556 h 4911453"/>
                <a:gd name="connsiteX12" fmla="*/ 1171121 w 3356627"/>
                <a:gd name="connsiteY12" fmla="*/ 381238 h 4911453"/>
                <a:gd name="connsiteX13" fmla="*/ 1166377 w 3356627"/>
                <a:gd name="connsiteY13" fmla="*/ 393927 h 4911453"/>
                <a:gd name="connsiteX14" fmla="*/ 1161145 w 3356627"/>
                <a:gd name="connsiteY14" fmla="*/ 405198 h 4911453"/>
                <a:gd name="connsiteX15" fmla="*/ 1146410 w 3356627"/>
                <a:gd name="connsiteY15" fmla="*/ 447325 h 4911453"/>
                <a:gd name="connsiteX16" fmla="*/ 1125818 w 3356627"/>
                <a:gd name="connsiteY16" fmla="*/ 502398 h 4911453"/>
                <a:gd name="connsiteX17" fmla="*/ 1121079 w 3356627"/>
                <a:gd name="connsiteY17" fmla="*/ 519746 h 4911453"/>
                <a:gd name="connsiteX18" fmla="*/ 1115664 w 3356627"/>
                <a:gd name="connsiteY18" fmla="*/ 535227 h 4911453"/>
                <a:gd name="connsiteX19" fmla="*/ 1105675 w 3356627"/>
                <a:gd name="connsiteY19" fmla="*/ 576140 h 4911453"/>
                <a:gd name="connsiteX20" fmla="*/ 1091935 w 3356627"/>
                <a:gd name="connsiteY20" fmla="*/ 626440 h 4911453"/>
                <a:gd name="connsiteX21" fmla="*/ 1088000 w 3356627"/>
                <a:gd name="connsiteY21" fmla="*/ 648531 h 4911453"/>
                <a:gd name="connsiteX22" fmla="*/ 1083177 w 3356627"/>
                <a:gd name="connsiteY22" fmla="*/ 668284 h 4911453"/>
                <a:gd name="connsiteX23" fmla="*/ 1077614 w 3356627"/>
                <a:gd name="connsiteY23" fmla="*/ 706837 h 4911453"/>
                <a:gd name="connsiteX24" fmla="*/ 1069474 w 3356627"/>
                <a:gd name="connsiteY24" fmla="*/ 752534 h 4911453"/>
                <a:gd name="connsiteX25" fmla="*/ 1067146 w 3356627"/>
                <a:gd name="connsiteY25" fmla="*/ 779378 h 4911453"/>
                <a:gd name="connsiteX26" fmla="*/ 1063685 w 3356627"/>
                <a:gd name="connsiteY26" fmla="*/ 803359 h 4911453"/>
                <a:gd name="connsiteX27" fmla="*/ 1061994 w 3356627"/>
                <a:gd name="connsiteY27" fmla="*/ 838792 h 4911453"/>
                <a:gd name="connsiteX28" fmla="*/ 1058433 w 3356627"/>
                <a:gd name="connsiteY28" fmla="*/ 879848 h 4911453"/>
                <a:gd name="connsiteX29" fmla="*/ 1058527 w 3356627"/>
                <a:gd name="connsiteY29" fmla="*/ 911391 h 4911453"/>
                <a:gd name="connsiteX30" fmla="*/ 1057188 w 3356627"/>
                <a:gd name="connsiteY30" fmla="*/ 939443 h 4911453"/>
                <a:gd name="connsiteX31" fmla="*/ 1058706 w 3356627"/>
                <a:gd name="connsiteY31" fmla="*/ 971231 h 4911453"/>
                <a:gd name="connsiteX32" fmla="*/ 1058814 w 3356627"/>
                <a:gd name="connsiteY32" fmla="*/ 1007549 h 4911453"/>
                <a:gd name="connsiteX33" fmla="*/ 1062165 w 3356627"/>
                <a:gd name="connsiteY33" fmla="*/ 1043682 h 4911453"/>
                <a:gd name="connsiteX34" fmla="*/ 1063685 w 3356627"/>
                <a:gd name="connsiteY34" fmla="*/ 1075527 h 4911453"/>
                <a:gd name="connsiteX35" fmla="*/ 1067695 w 3356627"/>
                <a:gd name="connsiteY35" fmla="*/ 1103314 h 4911453"/>
                <a:gd name="connsiteX36" fmla="*/ 1070616 w 3356627"/>
                <a:gd name="connsiteY36" fmla="*/ 1134807 h 4911453"/>
                <a:gd name="connsiteX37" fmla="*/ 1078094 w 3356627"/>
                <a:gd name="connsiteY37" fmla="*/ 1175377 h 4911453"/>
                <a:gd name="connsiteX38" fmla="*/ 1083177 w 3356627"/>
                <a:gd name="connsiteY38" fmla="*/ 1210602 h 4911453"/>
                <a:gd name="connsiteX39" fmla="*/ 1088932 w 3356627"/>
                <a:gd name="connsiteY39" fmla="*/ 1234171 h 4911453"/>
                <a:gd name="connsiteX40" fmla="*/ 1093839 w 3356627"/>
                <a:gd name="connsiteY40" fmla="*/ 1260790 h 4911453"/>
                <a:gd name="connsiteX41" fmla="*/ 1106381 w 3356627"/>
                <a:gd name="connsiteY41" fmla="*/ 1305636 h 4911453"/>
                <a:gd name="connsiteX42" fmla="*/ 1115664 w 3356627"/>
                <a:gd name="connsiteY42" fmla="*/ 1343659 h 4911453"/>
                <a:gd name="connsiteX43" fmla="*/ 1122400 w 3356627"/>
                <a:gd name="connsiteY43" fmla="*/ 1362915 h 4911453"/>
                <a:gd name="connsiteX44" fmla="*/ 1128483 w 3356627"/>
                <a:gd name="connsiteY44" fmla="*/ 1384666 h 4911453"/>
                <a:gd name="connsiteX45" fmla="*/ 1147150 w 3356627"/>
                <a:gd name="connsiteY45" fmla="*/ 1433674 h 4911453"/>
                <a:gd name="connsiteX46" fmla="*/ 1161145 w 3356627"/>
                <a:gd name="connsiteY46" fmla="*/ 1473687 h 4911453"/>
                <a:gd name="connsiteX47" fmla="*/ 1168089 w 3356627"/>
                <a:gd name="connsiteY47" fmla="*/ 1488648 h 4911453"/>
                <a:gd name="connsiteX48" fmla="*/ 1174548 w 3356627"/>
                <a:gd name="connsiteY48" fmla="*/ 1505604 h 4911453"/>
                <a:gd name="connsiteX49" fmla="*/ 1200671 w 3356627"/>
                <a:gd name="connsiteY49" fmla="*/ 1558848 h 4911453"/>
                <a:gd name="connsiteX50" fmla="*/ 1219621 w 3356627"/>
                <a:gd name="connsiteY50" fmla="*/ 1599679 h 4911453"/>
                <a:gd name="connsiteX51" fmla="*/ 1225997 w 3356627"/>
                <a:gd name="connsiteY51" fmla="*/ 1610468 h 4911453"/>
                <a:gd name="connsiteX52" fmla="*/ 1232033 w 3356627"/>
                <a:gd name="connsiteY52" fmla="*/ 1622772 h 4911453"/>
                <a:gd name="connsiteX53" fmla="*/ 1267645 w 3356627"/>
                <a:gd name="connsiteY53" fmla="*/ 1680947 h 4911453"/>
                <a:gd name="connsiteX54" fmla="*/ 1291092 w 3356627"/>
                <a:gd name="connsiteY54" fmla="*/ 1720625 h 4911453"/>
                <a:gd name="connsiteX55" fmla="*/ 1296121 w 3356627"/>
                <a:gd name="connsiteY55" fmla="*/ 1727466 h 4911453"/>
                <a:gd name="connsiteX56" fmla="*/ 1300941 w 3356627"/>
                <a:gd name="connsiteY56" fmla="*/ 1735339 h 4911453"/>
                <a:gd name="connsiteX57" fmla="*/ 1350649 w 3356627"/>
                <a:gd name="connsiteY57" fmla="*/ 1801636 h 4911453"/>
                <a:gd name="connsiteX58" fmla="*/ 1375557 w 3356627"/>
                <a:gd name="connsiteY58" fmla="*/ 1835515 h 4911453"/>
                <a:gd name="connsiteX59" fmla="*/ 1378461 w 3356627"/>
                <a:gd name="connsiteY59" fmla="*/ 1838728 h 4911453"/>
                <a:gd name="connsiteX60" fmla="*/ 1381269 w 3356627"/>
                <a:gd name="connsiteY60" fmla="*/ 1842473 h 4911453"/>
                <a:gd name="connsiteX61" fmla="*/ 1472992 w 3356627"/>
                <a:gd name="connsiteY61" fmla="*/ 1943314 h 4911453"/>
                <a:gd name="connsiteX62" fmla="*/ 1473017 w 3356627"/>
                <a:gd name="connsiteY62" fmla="*/ 1943341 h 4911453"/>
                <a:gd name="connsiteX63" fmla="*/ 1473018 w 3356627"/>
                <a:gd name="connsiteY63" fmla="*/ 1943342 h 4911453"/>
                <a:gd name="connsiteX64" fmla="*/ 1573887 w 3356627"/>
                <a:gd name="connsiteY64" fmla="*/ 2035092 h 4911453"/>
                <a:gd name="connsiteX65" fmla="*/ 1577640 w 3356627"/>
                <a:gd name="connsiteY65" fmla="*/ 2037906 h 4911453"/>
                <a:gd name="connsiteX66" fmla="*/ 1580843 w 3356627"/>
                <a:gd name="connsiteY66" fmla="*/ 2040801 h 4911453"/>
                <a:gd name="connsiteX67" fmla="*/ 1614625 w 3356627"/>
                <a:gd name="connsiteY67" fmla="*/ 2065637 h 4911453"/>
                <a:gd name="connsiteX68" fmla="*/ 1650266 w 3356627"/>
                <a:gd name="connsiteY68" fmla="*/ 2092360 h 4911453"/>
                <a:gd name="connsiteX69" fmla="*/ 1651160 w 3356627"/>
                <a:gd name="connsiteY69" fmla="*/ 2092497 h 4911453"/>
                <a:gd name="connsiteX70" fmla="*/ 1695733 w 3356627"/>
                <a:gd name="connsiteY70" fmla="*/ 2125266 h 4911453"/>
                <a:gd name="connsiteX71" fmla="*/ 2205756 w 3356627"/>
                <a:gd name="connsiteY71" fmla="*/ 2333180 h 4911453"/>
                <a:gd name="connsiteX72" fmla="*/ 2246374 w 3356627"/>
                <a:gd name="connsiteY72" fmla="*/ 2339042 h 4911453"/>
                <a:gd name="connsiteX73" fmla="*/ 2246762 w 3356627"/>
                <a:gd name="connsiteY73" fmla="*/ 2339332 h 4911453"/>
                <a:gd name="connsiteX74" fmla="*/ 2281553 w 3356627"/>
                <a:gd name="connsiteY74" fmla="*/ 2345745 h 4911453"/>
                <a:gd name="connsiteX75" fmla="*/ 2309994 w 3356627"/>
                <a:gd name="connsiteY75" fmla="*/ 2348222 h 4911453"/>
                <a:gd name="connsiteX76" fmla="*/ 2340831 w 3356627"/>
                <a:gd name="connsiteY76" fmla="*/ 2352672 h 4911453"/>
                <a:gd name="connsiteX77" fmla="*/ 2385654 w 3356627"/>
                <a:gd name="connsiteY77" fmla="*/ 2354812 h 4911453"/>
                <a:gd name="connsiteX78" fmla="*/ 2424766 w 3356627"/>
                <a:gd name="connsiteY78" fmla="*/ 2358219 h 4911453"/>
                <a:gd name="connsiteX79" fmla="*/ 2449781 w 3356627"/>
                <a:gd name="connsiteY79" fmla="*/ 2357874 h 4911453"/>
                <a:gd name="connsiteX80" fmla="*/ 2476916 w 3356627"/>
                <a:gd name="connsiteY80" fmla="*/ 2359170 h 4911453"/>
                <a:gd name="connsiteX81" fmla="*/ 2526091 w 3356627"/>
                <a:gd name="connsiteY81" fmla="*/ 2356822 h 4911453"/>
                <a:gd name="connsiteX82" fmla="*/ 2568410 w 3356627"/>
                <a:gd name="connsiteY82" fmla="*/ 2356238 h 4911453"/>
                <a:gd name="connsiteX83" fmla="*/ 2589767 w 3356627"/>
                <a:gd name="connsiteY83" fmla="*/ 2353782 h 4911453"/>
                <a:gd name="connsiteX84" fmla="*/ 2613000 w 3356627"/>
                <a:gd name="connsiteY84" fmla="*/ 2352672 h 4911453"/>
                <a:gd name="connsiteX85" fmla="*/ 2666383 w 3356627"/>
                <a:gd name="connsiteY85" fmla="*/ 2344969 h 4911453"/>
                <a:gd name="connsiteX86" fmla="*/ 2711299 w 3356627"/>
                <a:gd name="connsiteY86" fmla="*/ 2339803 h 4911453"/>
                <a:gd name="connsiteX87" fmla="*/ 2728868 w 3356627"/>
                <a:gd name="connsiteY87" fmla="*/ 2335952 h 4911453"/>
                <a:gd name="connsiteX88" fmla="*/ 2748075 w 3356627"/>
                <a:gd name="connsiteY88" fmla="*/ 2333180 h 4911453"/>
                <a:gd name="connsiteX89" fmla="*/ 2805586 w 3356627"/>
                <a:gd name="connsiteY89" fmla="*/ 2319139 h 4911453"/>
                <a:gd name="connsiteX90" fmla="*/ 2852249 w 3356627"/>
                <a:gd name="connsiteY90" fmla="*/ 2308912 h 4911453"/>
                <a:gd name="connsiteX91" fmla="*/ 2865999 w 3356627"/>
                <a:gd name="connsiteY91" fmla="*/ 2304389 h 4911453"/>
                <a:gd name="connsiteX92" fmla="*/ 2881131 w 3356627"/>
                <a:gd name="connsiteY92" fmla="*/ 2300694 h 4911453"/>
                <a:gd name="connsiteX93" fmla="*/ 2942914 w 3356627"/>
                <a:gd name="connsiteY93" fmla="*/ 2279084 h 4911453"/>
                <a:gd name="connsiteX94" fmla="*/ 2990078 w 3356627"/>
                <a:gd name="connsiteY94" fmla="*/ 2263567 h 4911453"/>
                <a:gd name="connsiteX95" fmla="*/ 3000070 w 3356627"/>
                <a:gd name="connsiteY95" fmla="*/ 2259092 h 4911453"/>
                <a:gd name="connsiteX96" fmla="*/ 3011160 w 3356627"/>
                <a:gd name="connsiteY96" fmla="*/ 2255213 h 4911453"/>
                <a:gd name="connsiteX97" fmla="*/ 3078077 w 3356627"/>
                <a:gd name="connsiteY97" fmla="*/ 2224155 h 4911453"/>
                <a:gd name="connsiteX98" fmla="*/ 3123600 w 3356627"/>
                <a:gd name="connsiteY98" fmla="*/ 2203767 h 4911453"/>
                <a:gd name="connsiteX99" fmla="*/ 3129988 w 3356627"/>
                <a:gd name="connsiteY99" fmla="*/ 2200062 h 4911453"/>
                <a:gd name="connsiteX100" fmla="*/ 3137152 w 3356627"/>
                <a:gd name="connsiteY100" fmla="*/ 2196737 h 4911453"/>
                <a:gd name="connsiteX101" fmla="*/ 3212888 w 3356627"/>
                <a:gd name="connsiteY101" fmla="*/ 2151982 h 4911453"/>
                <a:gd name="connsiteX102" fmla="*/ 3251632 w 3356627"/>
                <a:gd name="connsiteY102" fmla="*/ 2129512 h 4911453"/>
                <a:gd name="connsiteX103" fmla="*/ 3254663 w 3356627"/>
                <a:gd name="connsiteY103" fmla="*/ 2127296 h 4911453"/>
                <a:gd name="connsiteX104" fmla="*/ 3258098 w 3356627"/>
                <a:gd name="connsiteY104" fmla="*/ 2125266 h 4911453"/>
                <a:gd name="connsiteX105" fmla="*/ 3356627 w 3356627"/>
                <a:gd name="connsiteY105" fmla="*/ 2052829 h 4911453"/>
                <a:gd name="connsiteX106" fmla="*/ 3324554 w 3356627"/>
                <a:gd name="connsiteY106" fmla="*/ 2088119 h 4911453"/>
                <a:gd name="connsiteX107" fmla="*/ 2821297 w 3356627"/>
                <a:gd name="connsiteY107" fmla="*/ 3489985 h 4911453"/>
                <a:gd name="connsiteX108" fmla="*/ 2829563 w 3356627"/>
                <a:gd name="connsiteY108" fmla="*/ 3653670 h 4911453"/>
                <a:gd name="connsiteX109" fmla="*/ 2810610 w 3356627"/>
                <a:gd name="connsiteY109" fmla="*/ 3777851 h 4911453"/>
                <a:gd name="connsiteX110" fmla="*/ 1419727 w 3356627"/>
                <a:gd name="connsiteY110" fmla="*/ 4911453 h 4911453"/>
                <a:gd name="connsiteX111" fmla="*/ 0 w 3356627"/>
                <a:gd name="connsiteY111" fmla="*/ 3491726 h 4911453"/>
                <a:gd name="connsiteX112" fmla="*/ 4496 w 3356627"/>
                <a:gd name="connsiteY112" fmla="*/ 3402699 h 4911453"/>
                <a:gd name="connsiteX113" fmla="*/ 2252 w 3356627"/>
                <a:gd name="connsiteY113" fmla="*/ 3402699 h 4911453"/>
                <a:gd name="connsiteX114" fmla="*/ 6545 w 3356627"/>
                <a:gd name="connsiteY114" fmla="*/ 3232925 h 4911453"/>
                <a:gd name="connsiteX115" fmla="*/ 1306496 w 3356627"/>
                <a:gd name="connsiteY115" fmla="*/ 110207 h 491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356627" h="4911453">
                  <a:moveTo>
                    <a:pt x="1411569" y="0"/>
                  </a:moveTo>
                  <a:lnTo>
                    <a:pt x="1413244" y="1675"/>
                  </a:lnTo>
                  <a:lnTo>
                    <a:pt x="1375557" y="43370"/>
                  </a:lnTo>
                  <a:lnTo>
                    <a:pt x="1375281" y="43745"/>
                  </a:lnTo>
                  <a:lnTo>
                    <a:pt x="1295991" y="150893"/>
                  </a:lnTo>
                  <a:lnTo>
                    <a:pt x="1293621" y="154821"/>
                  </a:lnTo>
                  <a:lnTo>
                    <a:pt x="1291092" y="158261"/>
                  </a:lnTo>
                  <a:lnTo>
                    <a:pt x="1269971" y="194001"/>
                  </a:lnTo>
                  <a:lnTo>
                    <a:pt x="1227846" y="263793"/>
                  </a:lnTo>
                  <a:lnTo>
                    <a:pt x="1223891" y="271981"/>
                  </a:lnTo>
                  <a:lnTo>
                    <a:pt x="1219621" y="279206"/>
                  </a:lnTo>
                  <a:lnTo>
                    <a:pt x="1200430" y="320556"/>
                  </a:lnTo>
                  <a:lnTo>
                    <a:pt x="1171121" y="381238"/>
                  </a:lnTo>
                  <a:lnTo>
                    <a:pt x="1166377" y="393927"/>
                  </a:lnTo>
                  <a:lnTo>
                    <a:pt x="1161145" y="405198"/>
                  </a:lnTo>
                  <a:lnTo>
                    <a:pt x="1146410" y="447325"/>
                  </a:lnTo>
                  <a:lnTo>
                    <a:pt x="1125818" y="502398"/>
                  </a:lnTo>
                  <a:lnTo>
                    <a:pt x="1121079" y="519746"/>
                  </a:lnTo>
                  <a:lnTo>
                    <a:pt x="1115664" y="535227"/>
                  </a:lnTo>
                  <a:lnTo>
                    <a:pt x="1105675" y="576140"/>
                  </a:lnTo>
                  <a:lnTo>
                    <a:pt x="1091935" y="626440"/>
                  </a:lnTo>
                  <a:lnTo>
                    <a:pt x="1088000" y="648531"/>
                  </a:lnTo>
                  <a:lnTo>
                    <a:pt x="1083177" y="668284"/>
                  </a:lnTo>
                  <a:lnTo>
                    <a:pt x="1077614" y="706837"/>
                  </a:lnTo>
                  <a:lnTo>
                    <a:pt x="1069474" y="752534"/>
                  </a:lnTo>
                  <a:lnTo>
                    <a:pt x="1067146" y="779378"/>
                  </a:lnTo>
                  <a:lnTo>
                    <a:pt x="1063685" y="803359"/>
                  </a:lnTo>
                  <a:lnTo>
                    <a:pt x="1061994" y="838792"/>
                  </a:lnTo>
                  <a:lnTo>
                    <a:pt x="1058433" y="879848"/>
                  </a:lnTo>
                  <a:lnTo>
                    <a:pt x="1058527" y="911391"/>
                  </a:lnTo>
                  <a:lnTo>
                    <a:pt x="1057188" y="939443"/>
                  </a:lnTo>
                  <a:lnTo>
                    <a:pt x="1058706" y="971231"/>
                  </a:lnTo>
                  <a:lnTo>
                    <a:pt x="1058814" y="1007549"/>
                  </a:lnTo>
                  <a:lnTo>
                    <a:pt x="1062165" y="1043682"/>
                  </a:lnTo>
                  <a:lnTo>
                    <a:pt x="1063685" y="1075527"/>
                  </a:lnTo>
                  <a:lnTo>
                    <a:pt x="1067695" y="1103314"/>
                  </a:lnTo>
                  <a:lnTo>
                    <a:pt x="1070616" y="1134807"/>
                  </a:lnTo>
                  <a:lnTo>
                    <a:pt x="1078094" y="1175377"/>
                  </a:lnTo>
                  <a:lnTo>
                    <a:pt x="1083177" y="1210602"/>
                  </a:lnTo>
                  <a:lnTo>
                    <a:pt x="1088932" y="1234171"/>
                  </a:lnTo>
                  <a:lnTo>
                    <a:pt x="1093839" y="1260790"/>
                  </a:lnTo>
                  <a:lnTo>
                    <a:pt x="1106381" y="1305636"/>
                  </a:lnTo>
                  <a:lnTo>
                    <a:pt x="1115664" y="1343659"/>
                  </a:lnTo>
                  <a:lnTo>
                    <a:pt x="1122400" y="1362915"/>
                  </a:lnTo>
                  <a:lnTo>
                    <a:pt x="1128483" y="1384666"/>
                  </a:lnTo>
                  <a:lnTo>
                    <a:pt x="1147150" y="1433674"/>
                  </a:lnTo>
                  <a:lnTo>
                    <a:pt x="1161145" y="1473687"/>
                  </a:lnTo>
                  <a:lnTo>
                    <a:pt x="1168089" y="1488648"/>
                  </a:lnTo>
                  <a:lnTo>
                    <a:pt x="1174548" y="1505604"/>
                  </a:lnTo>
                  <a:lnTo>
                    <a:pt x="1200671" y="1558848"/>
                  </a:lnTo>
                  <a:lnTo>
                    <a:pt x="1219621" y="1599679"/>
                  </a:lnTo>
                  <a:lnTo>
                    <a:pt x="1225997" y="1610468"/>
                  </a:lnTo>
                  <a:lnTo>
                    <a:pt x="1232033" y="1622772"/>
                  </a:lnTo>
                  <a:lnTo>
                    <a:pt x="1267645" y="1680947"/>
                  </a:lnTo>
                  <a:lnTo>
                    <a:pt x="1291092" y="1720625"/>
                  </a:lnTo>
                  <a:lnTo>
                    <a:pt x="1296121" y="1727466"/>
                  </a:lnTo>
                  <a:lnTo>
                    <a:pt x="1300941" y="1735339"/>
                  </a:lnTo>
                  <a:lnTo>
                    <a:pt x="1350649" y="1801636"/>
                  </a:lnTo>
                  <a:lnTo>
                    <a:pt x="1375557" y="1835515"/>
                  </a:lnTo>
                  <a:lnTo>
                    <a:pt x="1378461" y="1838728"/>
                  </a:lnTo>
                  <a:lnTo>
                    <a:pt x="1381269" y="1842473"/>
                  </a:lnTo>
                  <a:lnTo>
                    <a:pt x="1472992" y="1943314"/>
                  </a:lnTo>
                  <a:lnTo>
                    <a:pt x="1473017" y="1943341"/>
                  </a:lnTo>
                  <a:lnTo>
                    <a:pt x="1473018" y="1943342"/>
                  </a:lnTo>
                  <a:cubicBezTo>
                    <a:pt x="1505505" y="1975829"/>
                    <a:pt x="1539174" y="2006412"/>
                    <a:pt x="1573887" y="2035092"/>
                  </a:cubicBezTo>
                  <a:lnTo>
                    <a:pt x="1577640" y="2037906"/>
                  </a:lnTo>
                  <a:lnTo>
                    <a:pt x="1580843" y="2040801"/>
                  </a:lnTo>
                  <a:lnTo>
                    <a:pt x="1614625" y="2065637"/>
                  </a:lnTo>
                  <a:lnTo>
                    <a:pt x="1650266" y="2092360"/>
                  </a:lnTo>
                  <a:lnTo>
                    <a:pt x="1651160" y="2092497"/>
                  </a:lnTo>
                  <a:lnTo>
                    <a:pt x="1695733" y="2125266"/>
                  </a:lnTo>
                  <a:cubicBezTo>
                    <a:pt x="1853182" y="2229223"/>
                    <a:pt x="2026778" y="2298528"/>
                    <a:pt x="2205756" y="2333180"/>
                  </a:cubicBezTo>
                  <a:lnTo>
                    <a:pt x="2246374" y="2339042"/>
                  </a:lnTo>
                  <a:lnTo>
                    <a:pt x="2246762" y="2339332"/>
                  </a:lnTo>
                  <a:lnTo>
                    <a:pt x="2281553" y="2345745"/>
                  </a:lnTo>
                  <a:lnTo>
                    <a:pt x="2309994" y="2348222"/>
                  </a:lnTo>
                  <a:lnTo>
                    <a:pt x="2340831" y="2352672"/>
                  </a:lnTo>
                  <a:lnTo>
                    <a:pt x="2385654" y="2354812"/>
                  </a:lnTo>
                  <a:lnTo>
                    <a:pt x="2424766" y="2358219"/>
                  </a:lnTo>
                  <a:lnTo>
                    <a:pt x="2449781" y="2357874"/>
                  </a:lnTo>
                  <a:lnTo>
                    <a:pt x="2476916" y="2359170"/>
                  </a:lnTo>
                  <a:lnTo>
                    <a:pt x="2526091" y="2356822"/>
                  </a:lnTo>
                  <a:lnTo>
                    <a:pt x="2568410" y="2356238"/>
                  </a:lnTo>
                  <a:lnTo>
                    <a:pt x="2589767" y="2353782"/>
                  </a:lnTo>
                  <a:lnTo>
                    <a:pt x="2613000" y="2352672"/>
                  </a:lnTo>
                  <a:lnTo>
                    <a:pt x="2666383" y="2344969"/>
                  </a:lnTo>
                  <a:lnTo>
                    <a:pt x="2711299" y="2339803"/>
                  </a:lnTo>
                  <a:lnTo>
                    <a:pt x="2728868" y="2335952"/>
                  </a:lnTo>
                  <a:lnTo>
                    <a:pt x="2748075" y="2333180"/>
                  </a:lnTo>
                  <a:lnTo>
                    <a:pt x="2805586" y="2319139"/>
                  </a:lnTo>
                  <a:lnTo>
                    <a:pt x="2852249" y="2308912"/>
                  </a:lnTo>
                  <a:lnTo>
                    <a:pt x="2865999" y="2304389"/>
                  </a:lnTo>
                  <a:lnTo>
                    <a:pt x="2881131" y="2300694"/>
                  </a:lnTo>
                  <a:lnTo>
                    <a:pt x="2942914" y="2279084"/>
                  </a:lnTo>
                  <a:lnTo>
                    <a:pt x="2990078" y="2263567"/>
                  </a:lnTo>
                  <a:lnTo>
                    <a:pt x="3000070" y="2259092"/>
                  </a:lnTo>
                  <a:lnTo>
                    <a:pt x="3011160" y="2255213"/>
                  </a:lnTo>
                  <a:lnTo>
                    <a:pt x="3078077" y="2224155"/>
                  </a:lnTo>
                  <a:lnTo>
                    <a:pt x="3123600" y="2203767"/>
                  </a:lnTo>
                  <a:lnTo>
                    <a:pt x="3129988" y="2200062"/>
                  </a:lnTo>
                  <a:lnTo>
                    <a:pt x="3137152" y="2196737"/>
                  </a:lnTo>
                  <a:lnTo>
                    <a:pt x="3212888" y="2151982"/>
                  </a:lnTo>
                  <a:lnTo>
                    <a:pt x="3251632" y="2129512"/>
                  </a:lnTo>
                  <a:lnTo>
                    <a:pt x="3254663" y="2127296"/>
                  </a:lnTo>
                  <a:lnTo>
                    <a:pt x="3258098" y="2125266"/>
                  </a:lnTo>
                  <a:lnTo>
                    <a:pt x="3356627" y="2052829"/>
                  </a:lnTo>
                  <a:lnTo>
                    <a:pt x="3324554" y="2088119"/>
                  </a:lnTo>
                  <a:cubicBezTo>
                    <a:pt x="3010159" y="2469078"/>
                    <a:pt x="2821297" y="2957476"/>
                    <a:pt x="2821297" y="3489985"/>
                  </a:cubicBezTo>
                  <a:lnTo>
                    <a:pt x="2829563" y="3653670"/>
                  </a:lnTo>
                  <a:lnTo>
                    <a:pt x="2810610" y="3777851"/>
                  </a:lnTo>
                  <a:cubicBezTo>
                    <a:pt x="2678226" y="4424796"/>
                    <a:pt x="2105809" y="4911453"/>
                    <a:pt x="1419727" y="4911453"/>
                  </a:cubicBezTo>
                  <a:cubicBezTo>
                    <a:pt x="635633" y="4911453"/>
                    <a:pt x="0" y="4275820"/>
                    <a:pt x="0" y="3491726"/>
                  </a:cubicBezTo>
                  <a:lnTo>
                    <a:pt x="4496" y="3402699"/>
                  </a:lnTo>
                  <a:lnTo>
                    <a:pt x="2252" y="3402699"/>
                  </a:lnTo>
                  <a:lnTo>
                    <a:pt x="6545" y="3232925"/>
                  </a:lnTo>
                  <a:cubicBezTo>
                    <a:pt x="67376" y="2032865"/>
                    <a:pt x="548865" y="943787"/>
                    <a:pt x="1306496" y="110207"/>
                  </a:cubicBezTo>
                  <a:close/>
                </a:path>
              </a:pathLst>
            </a:custGeom>
            <a:solidFill>
              <a:srgbClr val="4E88E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51" name="Freeform 50">
              <a:extLst>
                <a:ext uri="{FF2B5EF4-FFF2-40B4-BE49-F238E27FC236}">
                  <a16:creationId xmlns:a16="http://schemas.microsoft.com/office/drawing/2014/main" id="{7A08FE76-C35F-154E-853F-A69A6D21249F}"/>
                </a:ext>
              </a:extLst>
            </p:cNvPr>
            <p:cNvSpPr/>
            <p:nvPr/>
          </p:nvSpPr>
          <p:spPr>
            <a:xfrm>
              <a:off x="4072221" y="1407014"/>
              <a:ext cx="1941492" cy="1947196"/>
            </a:xfrm>
            <a:custGeom>
              <a:avLst/>
              <a:gdLst>
                <a:gd name="connsiteX0" fmla="*/ 3882984 w 3882984"/>
                <a:gd name="connsiteY0" fmla="*/ 0 h 3894392"/>
                <a:gd name="connsiteX1" fmla="*/ 3882984 w 3882984"/>
                <a:gd name="connsiteY1" fmla="*/ 2244 h 3894392"/>
                <a:gd name="connsiteX2" fmla="*/ 3826853 w 3882984"/>
                <a:gd name="connsiteY2" fmla="*/ 5078 h 3894392"/>
                <a:gd name="connsiteX3" fmla="*/ 3694561 w 3882984"/>
                <a:gd name="connsiteY3" fmla="*/ 24845 h 3894392"/>
                <a:gd name="connsiteX4" fmla="*/ 3690079 w 3882984"/>
                <a:gd name="connsiteY4" fmla="*/ 25954 h 3894392"/>
                <a:gd name="connsiteX5" fmla="*/ 3685888 w 3882984"/>
                <a:gd name="connsiteY5" fmla="*/ 26593 h 3894392"/>
                <a:gd name="connsiteX6" fmla="*/ 3645976 w 3882984"/>
                <a:gd name="connsiteY6" fmla="*/ 36855 h 3894392"/>
                <a:gd name="connsiteX7" fmla="*/ 3566543 w 3882984"/>
                <a:gd name="connsiteY7" fmla="*/ 56491 h 3894392"/>
                <a:gd name="connsiteX8" fmla="*/ 3557924 w 3882984"/>
                <a:gd name="connsiteY8" fmla="*/ 59496 h 3894392"/>
                <a:gd name="connsiteX9" fmla="*/ 3549830 w 3882984"/>
                <a:gd name="connsiteY9" fmla="*/ 61577 h 3894392"/>
                <a:gd name="connsiteX10" fmla="*/ 3507205 w 3882984"/>
                <a:gd name="connsiteY10" fmla="*/ 77178 h 3894392"/>
                <a:gd name="connsiteX11" fmla="*/ 3443386 w 3882984"/>
                <a:gd name="connsiteY11" fmla="*/ 99427 h 3894392"/>
                <a:gd name="connsiteX12" fmla="*/ 3431022 w 3882984"/>
                <a:gd name="connsiteY12" fmla="*/ 105061 h 3894392"/>
                <a:gd name="connsiteX13" fmla="*/ 3419391 w 3882984"/>
                <a:gd name="connsiteY13" fmla="*/ 109318 h 3894392"/>
                <a:gd name="connsiteX14" fmla="*/ 3379318 w 3882984"/>
                <a:gd name="connsiteY14" fmla="*/ 128623 h 3894392"/>
                <a:gd name="connsiteX15" fmla="*/ 3325679 w 3882984"/>
                <a:gd name="connsiteY15" fmla="*/ 153065 h 3894392"/>
                <a:gd name="connsiteX16" fmla="*/ 3310021 w 3882984"/>
                <a:gd name="connsiteY16" fmla="*/ 162004 h 3894392"/>
                <a:gd name="connsiteX17" fmla="*/ 3295287 w 3882984"/>
                <a:gd name="connsiteY17" fmla="*/ 169103 h 3894392"/>
                <a:gd name="connsiteX18" fmla="*/ 3259395 w 3882984"/>
                <a:gd name="connsiteY18" fmla="*/ 190907 h 3894392"/>
                <a:gd name="connsiteX19" fmla="*/ 3214009 w 3882984"/>
                <a:gd name="connsiteY19" fmla="*/ 216818 h 3894392"/>
                <a:gd name="connsiteX20" fmla="*/ 3195565 w 3882984"/>
                <a:gd name="connsiteY20" fmla="*/ 229685 h 3894392"/>
                <a:gd name="connsiteX21" fmla="*/ 3178230 w 3882984"/>
                <a:gd name="connsiteY21" fmla="*/ 240216 h 3894392"/>
                <a:gd name="connsiteX22" fmla="*/ 3147112 w 3882984"/>
                <a:gd name="connsiteY22" fmla="*/ 263485 h 3894392"/>
                <a:gd name="connsiteX23" fmla="*/ 3108965 w 3882984"/>
                <a:gd name="connsiteY23" fmla="*/ 290097 h 3894392"/>
                <a:gd name="connsiteX24" fmla="*/ 3088294 w 3882984"/>
                <a:gd name="connsiteY24" fmla="*/ 307469 h 3894392"/>
                <a:gd name="connsiteX25" fmla="*/ 3068935 w 3882984"/>
                <a:gd name="connsiteY25" fmla="*/ 321946 h 3894392"/>
                <a:gd name="connsiteX26" fmla="*/ 3042743 w 3882984"/>
                <a:gd name="connsiteY26" fmla="*/ 345751 h 3894392"/>
                <a:gd name="connsiteX27" fmla="*/ 3011134 w 3882984"/>
                <a:gd name="connsiteY27" fmla="*/ 372315 h 3894392"/>
                <a:gd name="connsiteX28" fmla="*/ 2988853 w 3882984"/>
                <a:gd name="connsiteY28" fmla="*/ 394729 h 3894392"/>
                <a:gd name="connsiteX29" fmla="*/ 2968114 w 3882984"/>
                <a:gd name="connsiteY29" fmla="*/ 413577 h 3894392"/>
                <a:gd name="connsiteX30" fmla="*/ 2946755 w 3882984"/>
                <a:gd name="connsiteY30" fmla="*/ 437079 h 3894392"/>
                <a:gd name="connsiteX31" fmla="*/ 2921104 w 3882984"/>
                <a:gd name="connsiteY31" fmla="*/ 462883 h 3894392"/>
                <a:gd name="connsiteX32" fmla="*/ 2897883 w 3882984"/>
                <a:gd name="connsiteY32" fmla="*/ 490852 h 3894392"/>
                <a:gd name="connsiteX33" fmla="*/ 2876483 w 3882984"/>
                <a:gd name="connsiteY33" fmla="*/ 514398 h 3894392"/>
                <a:gd name="connsiteX34" fmla="*/ 2859703 w 3882984"/>
                <a:gd name="connsiteY34" fmla="*/ 536837 h 3894392"/>
                <a:gd name="connsiteX35" fmla="*/ 2839464 w 3882984"/>
                <a:gd name="connsiteY35" fmla="*/ 561213 h 3894392"/>
                <a:gd name="connsiteX36" fmla="*/ 2816025 w 3882984"/>
                <a:gd name="connsiteY36" fmla="*/ 595247 h 3894392"/>
                <a:gd name="connsiteX37" fmla="*/ 2794753 w 3882984"/>
                <a:gd name="connsiteY37" fmla="*/ 623693 h 3894392"/>
                <a:gd name="connsiteX38" fmla="*/ 2782181 w 3882984"/>
                <a:gd name="connsiteY38" fmla="*/ 644388 h 3894392"/>
                <a:gd name="connsiteX39" fmla="*/ 2766802 w 3882984"/>
                <a:gd name="connsiteY39" fmla="*/ 666717 h 3894392"/>
                <a:gd name="connsiteX40" fmla="*/ 2757961 w 3882984"/>
                <a:gd name="connsiteY40" fmla="*/ 684255 h 3894392"/>
                <a:gd name="connsiteX41" fmla="*/ 2723639 w 3882984"/>
                <a:gd name="connsiteY41" fmla="*/ 740750 h 3894392"/>
                <a:gd name="connsiteX42" fmla="*/ 2663855 w 3882984"/>
                <a:gd name="connsiteY42" fmla="*/ 864854 h 3894392"/>
                <a:gd name="connsiteX43" fmla="*/ 2658951 w 3882984"/>
                <a:gd name="connsiteY43" fmla="*/ 880653 h 3894392"/>
                <a:gd name="connsiteX44" fmla="*/ 2650762 w 3882984"/>
                <a:gd name="connsiteY44" fmla="*/ 896897 h 3894392"/>
                <a:gd name="connsiteX45" fmla="*/ 2605640 w 3882984"/>
                <a:gd name="connsiteY45" fmla="*/ 1052394 h 3894392"/>
                <a:gd name="connsiteX46" fmla="*/ 2581130 w 3882984"/>
                <a:gd name="connsiteY46" fmla="*/ 1131352 h 3894392"/>
                <a:gd name="connsiteX47" fmla="*/ 2579357 w 3882984"/>
                <a:gd name="connsiteY47" fmla="*/ 1142966 h 3894392"/>
                <a:gd name="connsiteX48" fmla="*/ 2577688 w 3882984"/>
                <a:gd name="connsiteY48" fmla="*/ 1148718 h 3894392"/>
                <a:gd name="connsiteX49" fmla="*/ 2576401 w 3882984"/>
                <a:gd name="connsiteY49" fmla="*/ 1162335 h 3894392"/>
                <a:gd name="connsiteX50" fmla="*/ 2559616 w 3882984"/>
                <a:gd name="connsiteY50" fmla="*/ 1272317 h 3894392"/>
                <a:gd name="connsiteX51" fmla="*/ 2552287 w 3882984"/>
                <a:gd name="connsiteY51" fmla="*/ 1417451 h 3894392"/>
                <a:gd name="connsiteX52" fmla="*/ 2552285 w 3882984"/>
                <a:gd name="connsiteY52" fmla="*/ 1417475 h 3894392"/>
                <a:gd name="connsiteX53" fmla="*/ 2558734 w 3882984"/>
                <a:gd name="connsiteY53" fmla="*/ 1553677 h 3894392"/>
                <a:gd name="connsiteX54" fmla="*/ 2559398 w 3882984"/>
                <a:gd name="connsiteY54" fmla="*/ 1558321 h 3894392"/>
                <a:gd name="connsiteX55" fmla="*/ 2559616 w 3882984"/>
                <a:gd name="connsiteY55" fmla="*/ 1562635 h 3894392"/>
                <a:gd name="connsiteX56" fmla="*/ 2565946 w 3882984"/>
                <a:gd name="connsiteY56" fmla="*/ 1604114 h 3894392"/>
                <a:gd name="connsiteX57" fmla="*/ 2572248 w 3882984"/>
                <a:gd name="connsiteY57" fmla="*/ 1648183 h 3894392"/>
                <a:gd name="connsiteX58" fmla="*/ 2572783 w 3882984"/>
                <a:gd name="connsiteY58" fmla="*/ 1648911 h 3894392"/>
                <a:gd name="connsiteX59" fmla="*/ 2581130 w 3882984"/>
                <a:gd name="connsiteY59" fmla="*/ 1703601 h 3894392"/>
                <a:gd name="connsiteX60" fmla="*/ 2794753 w 3882984"/>
                <a:gd name="connsiteY60" fmla="*/ 2211259 h 3894392"/>
                <a:gd name="connsiteX61" fmla="*/ 2819326 w 3882984"/>
                <a:gd name="connsiteY61" fmla="*/ 2244121 h 3894392"/>
                <a:gd name="connsiteX62" fmla="*/ 2819395 w 3882984"/>
                <a:gd name="connsiteY62" fmla="*/ 2244597 h 3894392"/>
                <a:gd name="connsiteX63" fmla="*/ 2839464 w 3882984"/>
                <a:gd name="connsiteY63" fmla="*/ 2273738 h 3894392"/>
                <a:gd name="connsiteX64" fmla="*/ 2857814 w 3882984"/>
                <a:gd name="connsiteY64" fmla="*/ 2295589 h 3894392"/>
                <a:gd name="connsiteX65" fmla="*/ 2876483 w 3882984"/>
                <a:gd name="connsiteY65" fmla="*/ 2320555 h 3894392"/>
                <a:gd name="connsiteX66" fmla="*/ 2906683 w 3882984"/>
                <a:gd name="connsiteY66" fmla="*/ 2353784 h 3894392"/>
                <a:gd name="connsiteX67" fmla="*/ 2931911 w 3882984"/>
                <a:gd name="connsiteY67" fmla="*/ 2383826 h 3894392"/>
                <a:gd name="connsiteX68" fmla="*/ 2949828 w 3882984"/>
                <a:gd name="connsiteY68" fmla="*/ 2401255 h 3894392"/>
                <a:gd name="connsiteX69" fmla="*/ 2968114 w 3882984"/>
                <a:gd name="connsiteY69" fmla="*/ 2421375 h 3894392"/>
                <a:gd name="connsiteX70" fmla="*/ 3004579 w 3882984"/>
                <a:gd name="connsiteY70" fmla="*/ 2454516 h 3894392"/>
                <a:gd name="connsiteX71" fmla="*/ 3034883 w 3882984"/>
                <a:gd name="connsiteY71" fmla="*/ 2483996 h 3894392"/>
                <a:gd name="connsiteX72" fmla="*/ 3051703 w 3882984"/>
                <a:gd name="connsiteY72" fmla="*/ 2497346 h 3894392"/>
                <a:gd name="connsiteX73" fmla="*/ 3068935 w 3882984"/>
                <a:gd name="connsiteY73" fmla="*/ 2513007 h 3894392"/>
                <a:gd name="connsiteX74" fmla="*/ 3112178 w 3882984"/>
                <a:gd name="connsiteY74" fmla="*/ 2545343 h 3894392"/>
                <a:gd name="connsiteX75" fmla="*/ 3147543 w 3882984"/>
                <a:gd name="connsiteY75" fmla="*/ 2573412 h 3894392"/>
                <a:gd name="connsiteX76" fmla="*/ 3162668 w 3882984"/>
                <a:gd name="connsiteY76" fmla="*/ 2583099 h 3894392"/>
                <a:gd name="connsiteX77" fmla="*/ 3178230 w 3882984"/>
                <a:gd name="connsiteY77" fmla="*/ 2594736 h 3894392"/>
                <a:gd name="connsiteX78" fmla="*/ 3228893 w 3882984"/>
                <a:gd name="connsiteY78" fmla="*/ 2625515 h 3894392"/>
                <a:gd name="connsiteX79" fmla="*/ 3269053 w 3882984"/>
                <a:gd name="connsiteY79" fmla="*/ 2651236 h 3894392"/>
                <a:gd name="connsiteX80" fmla="*/ 3281952 w 3882984"/>
                <a:gd name="connsiteY80" fmla="*/ 2657749 h 3894392"/>
                <a:gd name="connsiteX81" fmla="*/ 3295287 w 3882984"/>
                <a:gd name="connsiteY81" fmla="*/ 2665850 h 3894392"/>
                <a:gd name="connsiteX82" fmla="*/ 3354353 w 3882984"/>
                <a:gd name="connsiteY82" fmla="*/ 2694304 h 3894392"/>
                <a:gd name="connsiteX83" fmla="*/ 3398576 w 3882984"/>
                <a:gd name="connsiteY83" fmla="*/ 2716632 h 3894392"/>
                <a:gd name="connsiteX84" fmla="*/ 3408782 w 3882984"/>
                <a:gd name="connsiteY84" fmla="*/ 2720524 h 3894392"/>
                <a:gd name="connsiteX85" fmla="*/ 3419391 w 3882984"/>
                <a:gd name="connsiteY85" fmla="*/ 2725634 h 3894392"/>
                <a:gd name="connsiteX86" fmla="*/ 3488818 w 3882984"/>
                <a:gd name="connsiteY86" fmla="*/ 2751045 h 3894392"/>
                <a:gd name="connsiteX87" fmla="*/ 3535275 w 3882984"/>
                <a:gd name="connsiteY87" fmla="*/ 2768761 h 3894392"/>
                <a:gd name="connsiteX88" fmla="*/ 3542390 w 3882984"/>
                <a:gd name="connsiteY88" fmla="*/ 2770652 h 3894392"/>
                <a:gd name="connsiteX89" fmla="*/ 3549830 w 3882984"/>
                <a:gd name="connsiteY89" fmla="*/ 2773375 h 3894392"/>
                <a:gd name="connsiteX90" fmla="*/ 3635292 w 3882984"/>
                <a:gd name="connsiteY90" fmla="*/ 2795350 h 3894392"/>
                <a:gd name="connsiteX91" fmla="*/ 3678313 w 3882984"/>
                <a:gd name="connsiteY91" fmla="*/ 2806787 h 3894392"/>
                <a:gd name="connsiteX92" fmla="*/ 3682001 w 3882984"/>
                <a:gd name="connsiteY92" fmla="*/ 2807360 h 3894392"/>
                <a:gd name="connsiteX93" fmla="*/ 3685888 w 3882984"/>
                <a:gd name="connsiteY93" fmla="*/ 2808359 h 3894392"/>
                <a:gd name="connsiteX94" fmla="*/ 3819918 w 3882984"/>
                <a:gd name="connsiteY94" fmla="*/ 2828815 h 3894392"/>
                <a:gd name="connsiteX95" fmla="*/ 3742646 w 3882984"/>
                <a:gd name="connsiteY95" fmla="*/ 2832717 h 3894392"/>
                <a:gd name="connsiteX96" fmla="*/ 2409608 w 3882984"/>
                <a:gd name="connsiteY96" fmla="*/ 3466837 h 3894392"/>
                <a:gd name="connsiteX97" fmla="*/ 2299440 w 3882984"/>
                <a:gd name="connsiteY97" fmla="*/ 3588052 h 3894392"/>
                <a:gd name="connsiteX98" fmla="*/ 2200910 w 3882984"/>
                <a:gd name="connsiteY98" fmla="*/ 3660489 h 3894392"/>
                <a:gd name="connsiteX99" fmla="*/ 415829 w 3882984"/>
                <a:gd name="connsiteY99" fmla="*/ 3478564 h 3894392"/>
                <a:gd name="connsiteX100" fmla="*/ 415829 w 3882984"/>
                <a:gd name="connsiteY100" fmla="*/ 1470767 h 3894392"/>
                <a:gd name="connsiteX101" fmla="*/ 481961 w 3882984"/>
                <a:gd name="connsiteY101" fmla="*/ 1410993 h 3894392"/>
                <a:gd name="connsiteX102" fmla="*/ 480285 w 3882984"/>
                <a:gd name="connsiteY102" fmla="*/ 1409317 h 3894392"/>
                <a:gd name="connsiteX103" fmla="*/ 590492 w 3882984"/>
                <a:gd name="connsiteY103" fmla="*/ 1304244 h 3894392"/>
                <a:gd name="connsiteX104" fmla="*/ 3713210 w 3882984"/>
                <a:gd name="connsiteY104" fmla="*/ 4293 h 3894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882984" h="3894392">
                  <a:moveTo>
                    <a:pt x="3882984" y="0"/>
                  </a:moveTo>
                  <a:lnTo>
                    <a:pt x="3882984" y="2244"/>
                  </a:lnTo>
                  <a:lnTo>
                    <a:pt x="3826853" y="5078"/>
                  </a:lnTo>
                  <a:cubicBezTo>
                    <a:pt x="3782109" y="9622"/>
                    <a:pt x="3737979" y="16244"/>
                    <a:pt x="3694561" y="24845"/>
                  </a:cubicBezTo>
                  <a:lnTo>
                    <a:pt x="3690079" y="25954"/>
                  </a:lnTo>
                  <a:lnTo>
                    <a:pt x="3685888" y="26593"/>
                  </a:lnTo>
                  <a:lnTo>
                    <a:pt x="3645976" y="36855"/>
                  </a:lnTo>
                  <a:lnTo>
                    <a:pt x="3566543" y="56491"/>
                  </a:lnTo>
                  <a:lnTo>
                    <a:pt x="3557924" y="59496"/>
                  </a:lnTo>
                  <a:lnTo>
                    <a:pt x="3549830" y="61577"/>
                  </a:lnTo>
                  <a:lnTo>
                    <a:pt x="3507205" y="77178"/>
                  </a:lnTo>
                  <a:lnTo>
                    <a:pt x="3443386" y="99427"/>
                  </a:lnTo>
                  <a:lnTo>
                    <a:pt x="3431022" y="105061"/>
                  </a:lnTo>
                  <a:lnTo>
                    <a:pt x="3419391" y="109318"/>
                  </a:lnTo>
                  <a:lnTo>
                    <a:pt x="3379318" y="128623"/>
                  </a:lnTo>
                  <a:lnTo>
                    <a:pt x="3325679" y="153065"/>
                  </a:lnTo>
                  <a:lnTo>
                    <a:pt x="3310021" y="162004"/>
                  </a:lnTo>
                  <a:lnTo>
                    <a:pt x="3295287" y="169103"/>
                  </a:lnTo>
                  <a:lnTo>
                    <a:pt x="3259395" y="190907"/>
                  </a:lnTo>
                  <a:lnTo>
                    <a:pt x="3214009" y="216818"/>
                  </a:lnTo>
                  <a:lnTo>
                    <a:pt x="3195565" y="229685"/>
                  </a:lnTo>
                  <a:lnTo>
                    <a:pt x="3178230" y="240216"/>
                  </a:lnTo>
                  <a:lnTo>
                    <a:pt x="3147112" y="263485"/>
                  </a:lnTo>
                  <a:lnTo>
                    <a:pt x="3108965" y="290097"/>
                  </a:lnTo>
                  <a:lnTo>
                    <a:pt x="3088294" y="307469"/>
                  </a:lnTo>
                  <a:lnTo>
                    <a:pt x="3068935" y="321946"/>
                  </a:lnTo>
                  <a:lnTo>
                    <a:pt x="3042743" y="345751"/>
                  </a:lnTo>
                  <a:lnTo>
                    <a:pt x="3011134" y="372315"/>
                  </a:lnTo>
                  <a:lnTo>
                    <a:pt x="2988853" y="394729"/>
                  </a:lnTo>
                  <a:lnTo>
                    <a:pt x="2968114" y="413577"/>
                  </a:lnTo>
                  <a:lnTo>
                    <a:pt x="2946755" y="437079"/>
                  </a:lnTo>
                  <a:lnTo>
                    <a:pt x="2921104" y="462883"/>
                  </a:lnTo>
                  <a:lnTo>
                    <a:pt x="2897883" y="490852"/>
                  </a:lnTo>
                  <a:lnTo>
                    <a:pt x="2876483" y="514398"/>
                  </a:lnTo>
                  <a:lnTo>
                    <a:pt x="2859703" y="536837"/>
                  </a:lnTo>
                  <a:lnTo>
                    <a:pt x="2839464" y="561213"/>
                  </a:lnTo>
                  <a:lnTo>
                    <a:pt x="2816025" y="595247"/>
                  </a:lnTo>
                  <a:lnTo>
                    <a:pt x="2794753" y="623693"/>
                  </a:lnTo>
                  <a:lnTo>
                    <a:pt x="2782181" y="644388"/>
                  </a:lnTo>
                  <a:lnTo>
                    <a:pt x="2766802" y="666717"/>
                  </a:lnTo>
                  <a:lnTo>
                    <a:pt x="2757961" y="684255"/>
                  </a:lnTo>
                  <a:lnTo>
                    <a:pt x="2723639" y="740750"/>
                  </a:lnTo>
                  <a:cubicBezTo>
                    <a:pt x="2701783" y="780983"/>
                    <a:pt x="2681816" y="822391"/>
                    <a:pt x="2663855" y="864854"/>
                  </a:cubicBezTo>
                  <a:lnTo>
                    <a:pt x="2658951" y="880653"/>
                  </a:lnTo>
                  <a:lnTo>
                    <a:pt x="2650762" y="896897"/>
                  </a:lnTo>
                  <a:lnTo>
                    <a:pt x="2605640" y="1052394"/>
                  </a:lnTo>
                  <a:lnTo>
                    <a:pt x="2581130" y="1131352"/>
                  </a:lnTo>
                  <a:lnTo>
                    <a:pt x="2579357" y="1142966"/>
                  </a:lnTo>
                  <a:lnTo>
                    <a:pt x="2577688" y="1148718"/>
                  </a:lnTo>
                  <a:lnTo>
                    <a:pt x="2576401" y="1162335"/>
                  </a:lnTo>
                  <a:lnTo>
                    <a:pt x="2559616" y="1272317"/>
                  </a:lnTo>
                  <a:lnTo>
                    <a:pt x="2552287" y="1417451"/>
                  </a:lnTo>
                  <a:lnTo>
                    <a:pt x="2552285" y="1417475"/>
                  </a:lnTo>
                  <a:cubicBezTo>
                    <a:pt x="2552285" y="1463418"/>
                    <a:pt x="2554467" y="1508852"/>
                    <a:pt x="2558734" y="1553677"/>
                  </a:cubicBezTo>
                  <a:lnTo>
                    <a:pt x="2559398" y="1558321"/>
                  </a:lnTo>
                  <a:lnTo>
                    <a:pt x="2559616" y="1562635"/>
                  </a:lnTo>
                  <a:lnTo>
                    <a:pt x="2565946" y="1604114"/>
                  </a:lnTo>
                  <a:lnTo>
                    <a:pt x="2572248" y="1648183"/>
                  </a:lnTo>
                  <a:lnTo>
                    <a:pt x="2572783" y="1648911"/>
                  </a:lnTo>
                  <a:lnTo>
                    <a:pt x="2581130" y="1703601"/>
                  </a:lnTo>
                  <a:cubicBezTo>
                    <a:pt x="2618954" y="1888443"/>
                    <a:pt x="2692699" y="2060199"/>
                    <a:pt x="2794753" y="2211259"/>
                  </a:cubicBezTo>
                  <a:lnTo>
                    <a:pt x="2819326" y="2244121"/>
                  </a:lnTo>
                  <a:lnTo>
                    <a:pt x="2819395" y="2244597"/>
                  </a:lnTo>
                  <a:lnTo>
                    <a:pt x="2839464" y="2273738"/>
                  </a:lnTo>
                  <a:lnTo>
                    <a:pt x="2857814" y="2295589"/>
                  </a:lnTo>
                  <a:lnTo>
                    <a:pt x="2876483" y="2320555"/>
                  </a:lnTo>
                  <a:lnTo>
                    <a:pt x="2906683" y="2353784"/>
                  </a:lnTo>
                  <a:lnTo>
                    <a:pt x="2931911" y="2383826"/>
                  </a:lnTo>
                  <a:lnTo>
                    <a:pt x="2949828" y="2401255"/>
                  </a:lnTo>
                  <a:lnTo>
                    <a:pt x="2968114" y="2421375"/>
                  </a:lnTo>
                  <a:lnTo>
                    <a:pt x="3004579" y="2454516"/>
                  </a:lnTo>
                  <a:lnTo>
                    <a:pt x="3034883" y="2483996"/>
                  </a:lnTo>
                  <a:lnTo>
                    <a:pt x="3051703" y="2497346"/>
                  </a:lnTo>
                  <a:lnTo>
                    <a:pt x="3068935" y="2513007"/>
                  </a:lnTo>
                  <a:lnTo>
                    <a:pt x="3112178" y="2545343"/>
                  </a:lnTo>
                  <a:lnTo>
                    <a:pt x="3147543" y="2573412"/>
                  </a:lnTo>
                  <a:lnTo>
                    <a:pt x="3162668" y="2583099"/>
                  </a:lnTo>
                  <a:lnTo>
                    <a:pt x="3178230" y="2594736"/>
                  </a:lnTo>
                  <a:lnTo>
                    <a:pt x="3228893" y="2625515"/>
                  </a:lnTo>
                  <a:lnTo>
                    <a:pt x="3269053" y="2651236"/>
                  </a:lnTo>
                  <a:lnTo>
                    <a:pt x="3281952" y="2657749"/>
                  </a:lnTo>
                  <a:lnTo>
                    <a:pt x="3295287" y="2665850"/>
                  </a:lnTo>
                  <a:lnTo>
                    <a:pt x="3354353" y="2694304"/>
                  </a:lnTo>
                  <a:lnTo>
                    <a:pt x="3398576" y="2716632"/>
                  </a:lnTo>
                  <a:lnTo>
                    <a:pt x="3408782" y="2720524"/>
                  </a:lnTo>
                  <a:lnTo>
                    <a:pt x="3419391" y="2725634"/>
                  </a:lnTo>
                  <a:lnTo>
                    <a:pt x="3488818" y="2751045"/>
                  </a:lnTo>
                  <a:lnTo>
                    <a:pt x="3535275" y="2768761"/>
                  </a:lnTo>
                  <a:lnTo>
                    <a:pt x="3542390" y="2770652"/>
                  </a:lnTo>
                  <a:lnTo>
                    <a:pt x="3549830" y="2773375"/>
                  </a:lnTo>
                  <a:lnTo>
                    <a:pt x="3635292" y="2795350"/>
                  </a:lnTo>
                  <a:lnTo>
                    <a:pt x="3678313" y="2806787"/>
                  </a:lnTo>
                  <a:lnTo>
                    <a:pt x="3682001" y="2807360"/>
                  </a:lnTo>
                  <a:lnTo>
                    <a:pt x="3685888" y="2808359"/>
                  </a:lnTo>
                  <a:lnTo>
                    <a:pt x="3819918" y="2828815"/>
                  </a:lnTo>
                  <a:lnTo>
                    <a:pt x="3742646" y="2832717"/>
                  </a:lnTo>
                  <a:cubicBezTo>
                    <a:pt x="3224032" y="2885385"/>
                    <a:pt x="2758577" y="3117868"/>
                    <a:pt x="2409608" y="3466837"/>
                  </a:cubicBezTo>
                  <a:lnTo>
                    <a:pt x="2299440" y="3588052"/>
                  </a:lnTo>
                  <a:lnTo>
                    <a:pt x="2200910" y="3660489"/>
                  </a:lnTo>
                  <a:cubicBezTo>
                    <a:pt x="1649840" y="4024339"/>
                    <a:pt x="900962" y="3963698"/>
                    <a:pt x="415829" y="3478564"/>
                  </a:cubicBezTo>
                  <a:cubicBezTo>
                    <a:pt x="-138610" y="2924126"/>
                    <a:pt x="-138610" y="2025205"/>
                    <a:pt x="415829" y="1470767"/>
                  </a:cubicBezTo>
                  <a:lnTo>
                    <a:pt x="481961" y="1410993"/>
                  </a:lnTo>
                  <a:lnTo>
                    <a:pt x="480285" y="1409317"/>
                  </a:lnTo>
                  <a:lnTo>
                    <a:pt x="590492" y="1304244"/>
                  </a:lnTo>
                  <a:cubicBezTo>
                    <a:pt x="1424072" y="546613"/>
                    <a:pt x="2513149" y="65124"/>
                    <a:pt x="3713210" y="4293"/>
                  </a:cubicBezTo>
                  <a:close/>
                </a:path>
              </a:pathLst>
            </a:custGeom>
            <a:solidFill>
              <a:srgbClr val="1359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571">
                <a:defRPr/>
              </a:pPr>
              <a:endParaRPr lang="en-US" sz="1350" b="1" dirty="0">
                <a:solidFill>
                  <a:srgbClr val="FFFFFF"/>
                </a:solidFill>
                <a:latin typeface="Roboto Light" panose="02000000000000000000" pitchFamily="2" charset="0"/>
                <a:ea typeface="Roboto Light" panose="02000000000000000000" pitchFamily="2" charset="0"/>
              </a:endParaRPr>
            </a:p>
          </p:txBody>
        </p:sp>
        <p:sp>
          <p:nvSpPr>
            <p:cNvPr id="36" name="Rectangle 35">
              <a:extLst>
                <a:ext uri="{FF2B5EF4-FFF2-40B4-BE49-F238E27FC236}">
                  <a16:creationId xmlns:a16="http://schemas.microsoft.com/office/drawing/2014/main" id="{4D0CB312-93E4-4A8D-92B5-CDBD39E1A9ED}"/>
                </a:ext>
              </a:extLst>
            </p:cNvPr>
            <p:cNvSpPr/>
            <p:nvPr/>
          </p:nvSpPr>
          <p:spPr>
            <a:xfrm>
              <a:off x="3599299" y="3509922"/>
              <a:ext cx="1147553" cy="492507"/>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Compliance &amp; Reporting</a:t>
              </a:r>
            </a:p>
          </p:txBody>
        </p:sp>
        <p:sp>
          <p:nvSpPr>
            <p:cNvPr id="40" name="Rectangle 39">
              <a:extLst>
                <a:ext uri="{FF2B5EF4-FFF2-40B4-BE49-F238E27FC236}">
                  <a16:creationId xmlns:a16="http://schemas.microsoft.com/office/drawing/2014/main" id="{17E14281-A2F5-498E-8D24-8226E80E18D8}"/>
                </a:ext>
              </a:extLst>
            </p:cNvPr>
            <p:cNvSpPr/>
            <p:nvPr/>
          </p:nvSpPr>
          <p:spPr>
            <a:xfrm>
              <a:off x="7019201" y="2469434"/>
              <a:ext cx="1008374" cy="492507"/>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Policies &amp; Procedures</a:t>
              </a:r>
            </a:p>
          </p:txBody>
        </p:sp>
        <p:sp>
          <p:nvSpPr>
            <p:cNvPr id="42" name="Rectangle 41">
              <a:extLst>
                <a:ext uri="{FF2B5EF4-FFF2-40B4-BE49-F238E27FC236}">
                  <a16:creationId xmlns:a16="http://schemas.microsoft.com/office/drawing/2014/main" id="{8F4E3E08-4932-477B-9A72-5694C3B7DC76}"/>
                </a:ext>
              </a:extLst>
            </p:cNvPr>
            <p:cNvSpPr/>
            <p:nvPr/>
          </p:nvSpPr>
          <p:spPr>
            <a:xfrm>
              <a:off x="4262490" y="2161311"/>
              <a:ext cx="1147553" cy="492507"/>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Scalability &amp; Flexibility</a:t>
              </a:r>
            </a:p>
          </p:txBody>
        </p:sp>
        <p:sp>
          <p:nvSpPr>
            <p:cNvPr id="44" name="Rectangle 43">
              <a:extLst>
                <a:ext uri="{FF2B5EF4-FFF2-40B4-BE49-F238E27FC236}">
                  <a16:creationId xmlns:a16="http://schemas.microsoft.com/office/drawing/2014/main" id="{5CF10712-290F-42BF-AB74-2AC10DA1F258}"/>
                </a:ext>
              </a:extLst>
            </p:cNvPr>
            <p:cNvSpPr/>
            <p:nvPr/>
          </p:nvSpPr>
          <p:spPr>
            <a:xfrm>
              <a:off x="7377613" y="3784109"/>
              <a:ext cx="1039555" cy="677196"/>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Improved Student Experience</a:t>
              </a:r>
            </a:p>
          </p:txBody>
        </p:sp>
        <p:sp>
          <p:nvSpPr>
            <p:cNvPr id="46" name="Rectangle 45">
              <a:extLst>
                <a:ext uri="{FF2B5EF4-FFF2-40B4-BE49-F238E27FC236}">
                  <a16:creationId xmlns:a16="http://schemas.microsoft.com/office/drawing/2014/main" id="{2328B8D7-4601-4299-B6DE-061C9D2FC14F}"/>
                </a:ext>
              </a:extLst>
            </p:cNvPr>
            <p:cNvSpPr/>
            <p:nvPr/>
          </p:nvSpPr>
          <p:spPr>
            <a:xfrm>
              <a:off x="6680369" y="5076577"/>
              <a:ext cx="1147553" cy="307816"/>
            </a:xfrm>
            <a:prstGeom prst="rect">
              <a:avLst/>
            </a:prstGeom>
          </p:spPr>
          <p:txBody>
            <a:bodyPr wrap="square">
              <a:spAutoFit/>
            </a:bodyPr>
            <a:lstStyle/>
            <a:p>
              <a:pPr algn="ctr" defTabSz="685709">
                <a:defRPr/>
              </a:pPr>
              <a:endParaRPr lang="en-US" sz="900" b="1" dirty="0">
                <a:solidFill>
                  <a:srgbClr val="FF0000"/>
                </a:solidFill>
                <a:latin typeface="Roboto Light" panose="02000000000000000000" pitchFamily="2" charset="0"/>
                <a:ea typeface="Roboto Light" panose="02000000000000000000" pitchFamily="2" charset="0"/>
              </a:endParaRPr>
            </a:p>
          </p:txBody>
        </p:sp>
        <p:sp>
          <p:nvSpPr>
            <p:cNvPr id="48" name="Rectangle 47">
              <a:extLst>
                <a:ext uri="{FF2B5EF4-FFF2-40B4-BE49-F238E27FC236}">
                  <a16:creationId xmlns:a16="http://schemas.microsoft.com/office/drawing/2014/main" id="{454DF944-0F32-434D-9AE5-2D2328A54B1A}"/>
                </a:ext>
              </a:extLst>
            </p:cNvPr>
            <p:cNvSpPr/>
            <p:nvPr/>
          </p:nvSpPr>
          <p:spPr>
            <a:xfrm>
              <a:off x="5460295" y="5497259"/>
              <a:ext cx="1147553" cy="677196"/>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Better Planning and Coordination</a:t>
              </a:r>
            </a:p>
          </p:txBody>
        </p:sp>
        <p:sp>
          <p:nvSpPr>
            <p:cNvPr id="52" name="TextBox 51">
              <a:extLst>
                <a:ext uri="{FF2B5EF4-FFF2-40B4-BE49-F238E27FC236}">
                  <a16:creationId xmlns:a16="http://schemas.microsoft.com/office/drawing/2014/main" id="{918FD8EE-D78B-41E0-9ECB-597EE535C7E5}"/>
                </a:ext>
              </a:extLst>
            </p:cNvPr>
            <p:cNvSpPr txBox="1"/>
            <p:nvPr/>
          </p:nvSpPr>
          <p:spPr>
            <a:xfrm>
              <a:off x="5151137" y="3548048"/>
              <a:ext cx="1730079" cy="677196"/>
            </a:xfrm>
            <a:prstGeom prst="rect">
              <a:avLst/>
            </a:prstGeom>
            <a:noFill/>
          </p:spPr>
          <p:txBody>
            <a:bodyPr wrap="square" rtlCol="0">
              <a:spAutoFit/>
            </a:bodyPr>
            <a:lstStyle/>
            <a:p>
              <a:pPr algn="ctr" defTabSz="415814">
                <a:defRPr/>
              </a:pPr>
              <a:r>
                <a:rPr lang="en-US" sz="1350" b="1" dirty="0">
                  <a:solidFill>
                    <a:srgbClr val="2576B7"/>
                  </a:solidFill>
                  <a:latin typeface="Tenorite" panose="00000500000000000000" pitchFamily="2" charset="0"/>
                  <a:ea typeface="Roboto Light" panose="02000000000000000000" pitchFamily="2" charset="0"/>
                </a:rPr>
                <a:t>Graduation Management</a:t>
              </a:r>
              <a:endParaRPr lang="en-CA" sz="1350" b="1" dirty="0">
                <a:solidFill>
                  <a:srgbClr val="2576B7"/>
                </a:solidFill>
                <a:latin typeface="Tenorite" panose="00000500000000000000" pitchFamily="2" charset="0"/>
                <a:ea typeface="Roboto Light" panose="02000000000000000000" pitchFamily="2" charset="0"/>
              </a:endParaRPr>
            </a:p>
          </p:txBody>
        </p:sp>
        <p:sp>
          <p:nvSpPr>
            <p:cNvPr id="54" name="Rectangle 53">
              <a:extLst>
                <a:ext uri="{FF2B5EF4-FFF2-40B4-BE49-F238E27FC236}">
                  <a16:creationId xmlns:a16="http://schemas.microsoft.com/office/drawing/2014/main" id="{2E70313B-E757-4F5A-A839-CD58B25E89B5}"/>
                </a:ext>
              </a:extLst>
            </p:cNvPr>
            <p:cNvSpPr/>
            <p:nvPr/>
          </p:nvSpPr>
          <p:spPr>
            <a:xfrm>
              <a:off x="6747229" y="5024306"/>
              <a:ext cx="1147553" cy="677196"/>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Enhanced Data Accuracy</a:t>
              </a:r>
            </a:p>
          </p:txBody>
        </p:sp>
        <p:sp>
          <p:nvSpPr>
            <p:cNvPr id="139" name="Rectangle 138">
              <a:extLst>
                <a:ext uri="{FF2B5EF4-FFF2-40B4-BE49-F238E27FC236}">
                  <a16:creationId xmlns:a16="http://schemas.microsoft.com/office/drawing/2014/main" id="{7A6D2D30-90AD-40BE-8149-A718E5AF08F1}"/>
                </a:ext>
              </a:extLst>
            </p:cNvPr>
            <p:cNvSpPr/>
            <p:nvPr/>
          </p:nvSpPr>
          <p:spPr>
            <a:xfrm>
              <a:off x="4035380" y="5008092"/>
              <a:ext cx="1147553" cy="307816"/>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Cost Savings</a:t>
              </a:r>
              <a:endParaRPr lang="en-US" sz="900" b="1" dirty="0">
                <a:solidFill>
                  <a:srgbClr val="FF0000"/>
                </a:solidFill>
                <a:latin typeface="Tenorite" panose="00000500000000000000" pitchFamily="2" charset="0"/>
                <a:ea typeface="Roboto Light" panose="02000000000000000000" pitchFamily="2" charset="0"/>
              </a:endParaRPr>
            </a:p>
          </p:txBody>
        </p:sp>
      </p:grpSp>
      <p:sp>
        <p:nvSpPr>
          <p:cNvPr id="6" name="Rectangle 5">
            <a:extLst>
              <a:ext uri="{FF2B5EF4-FFF2-40B4-BE49-F238E27FC236}">
                <a16:creationId xmlns:a16="http://schemas.microsoft.com/office/drawing/2014/main" id="{E5A6A64E-7699-4708-975A-AFBB78691388}"/>
              </a:ext>
            </a:extLst>
          </p:cNvPr>
          <p:cNvSpPr/>
          <p:nvPr/>
        </p:nvSpPr>
        <p:spPr>
          <a:xfrm>
            <a:off x="4161900" y="2472100"/>
            <a:ext cx="779565" cy="507831"/>
          </a:xfrm>
          <a:prstGeom prst="rect">
            <a:avLst/>
          </a:prstGeom>
        </p:spPr>
        <p:txBody>
          <a:bodyPr wrap="square">
            <a:spAutoFit/>
          </a:bodyPr>
          <a:lstStyle/>
          <a:p>
            <a:pPr algn="ctr" defTabSz="685709">
              <a:defRPr/>
            </a:pPr>
            <a:r>
              <a:rPr lang="en-US" sz="900" b="1" dirty="0">
                <a:solidFill>
                  <a:srgbClr val="FFFFFF"/>
                </a:solidFill>
                <a:latin typeface="Tenorite" panose="00000500000000000000" pitchFamily="2" charset="0"/>
                <a:ea typeface="Roboto Light" panose="02000000000000000000" pitchFamily="2" charset="0"/>
              </a:rPr>
              <a:t>Efficiency &amp; Time Saving</a:t>
            </a:r>
          </a:p>
        </p:txBody>
      </p:sp>
      <p:grpSp>
        <p:nvGrpSpPr>
          <p:cNvPr id="28" name="Group 27">
            <a:extLst>
              <a:ext uri="{FF2B5EF4-FFF2-40B4-BE49-F238E27FC236}">
                <a16:creationId xmlns:a16="http://schemas.microsoft.com/office/drawing/2014/main" id="{C3F7B393-E6CE-4A39-8EBE-32009DB8D5A3}"/>
              </a:ext>
            </a:extLst>
          </p:cNvPr>
          <p:cNvGrpSpPr/>
          <p:nvPr/>
        </p:nvGrpSpPr>
        <p:grpSpPr>
          <a:xfrm>
            <a:off x="1444986" y="1964613"/>
            <a:ext cx="2025501" cy="1884916"/>
            <a:chOff x="1802173" y="1389019"/>
            <a:chExt cx="2701019" cy="2513549"/>
          </a:xfrm>
        </p:grpSpPr>
        <p:sp>
          <p:nvSpPr>
            <p:cNvPr id="23" name="Arrow: Curved Left 22">
              <a:extLst>
                <a:ext uri="{FF2B5EF4-FFF2-40B4-BE49-F238E27FC236}">
                  <a16:creationId xmlns:a16="http://schemas.microsoft.com/office/drawing/2014/main" id="{9BA924B8-9098-414C-A2A6-27B9C46D78C6}"/>
                </a:ext>
              </a:extLst>
            </p:cNvPr>
            <p:cNvSpPr/>
            <p:nvPr/>
          </p:nvSpPr>
          <p:spPr>
            <a:xfrm rot="10645260" flipH="1">
              <a:off x="3554476" y="1397801"/>
              <a:ext cx="948716" cy="2217689"/>
            </a:xfrm>
            <a:prstGeom prst="curvedLeft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5814">
                <a:defRPr/>
              </a:pPr>
              <a:endParaRPr lang="en-CA" sz="819" dirty="0">
                <a:solidFill>
                  <a:srgbClr val="494949"/>
                </a:solidFill>
                <a:latin typeface="Roboto Condensed Light" panose="02000000000000000000" pitchFamily="2" charset="0"/>
              </a:endParaRPr>
            </a:p>
          </p:txBody>
        </p:sp>
        <p:sp>
          <p:nvSpPr>
            <p:cNvPr id="3" name="TextBox 2">
              <a:extLst>
                <a:ext uri="{FF2B5EF4-FFF2-40B4-BE49-F238E27FC236}">
                  <a16:creationId xmlns:a16="http://schemas.microsoft.com/office/drawing/2014/main" id="{57257ED4-FAF4-41B9-8AF5-940B890D7BC1}"/>
                </a:ext>
              </a:extLst>
            </p:cNvPr>
            <p:cNvSpPr txBox="1"/>
            <p:nvPr/>
          </p:nvSpPr>
          <p:spPr>
            <a:xfrm>
              <a:off x="1802173" y="1389019"/>
              <a:ext cx="2566618" cy="554070"/>
            </a:xfrm>
            <a:prstGeom prst="rect">
              <a:avLst/>
            </a:prstGeom>
            <a:noFill/>
          </p:spPr>
          <p:txBody>
            <a:bodyPr wrap="square" rtlCol="0">
              <a:spAutoFit/>
            </a:bodyPr>
            <a:lstStyle/>
            <a:p>
              <a:pPr algn="ctr" defTabSz="415814">
                <a:defRPr/>
              </a:pPr>
              <a:r>
                <a:rPr lang="en-US" sz="1050" b="1" dirty="0">
                  <a:solidFill>
                    <a:srgbClr val="2576B7"/>
                  </a:solidFill>
                  <a:latin typeface="Tenorite" panose="00000500000000000000" pitchFamily="2" charset="0"/>
                  <a:ea typeface="Roboto Light" panose="02000000000000000000" pitchFamily="2" charset="0"/>
                </a:rPr>
                <a:t>Student Lifecycle </a:t>
              </a:r>
            </a:p>
            <a:p>
              <a:pPr algn="ctr" defTabSz="415814">
                <a:defRPr/>
              </a:pPr>
              <a:r>
                <a:rPr lang="en-US" sz="1050" b="1" dirty="0">
                  <a:solidFill>
                    <a:srgbClr val="2576B7"/>
                  </a:solidFill>
                  <a:latin typeface="Tenorite" panose="00000500000000000000" pitchFamily="2" charset="0"/>
                  <a:ea typeface="Roboto Light" panose="02000000000000000000" pitchFamily="2" charset="0"/>
                </a:rPr>
                <a:t>Governance</a:t>
              </a:r>
            </a:p>
          </p:txBody>
        </p:sp>
        <p:sp>
          <p:nvSpPr>
            <p:cNvPr id="22" name="Arrow: Curved Right 21">
              <a:extLst>
                <a:ext uri="{FF2B5EF4-FFF2-40B4-BE49-F238E27FC236}">
                  <a16:creationId xmlns:a16="http://schemas.microsoft.com/office/drawing/2014/main" id="{F1750096-4C5F-4485-9B56-02C1F4FDAA84}"/>
                </a:ext>
              </a:extLst>
            </p:cNvPr>
            <p:cNvSpPr/>
            <p:nvPr/>
          </p:nvSpPr>
          <p:spPr>
            <a:xfrm>
              <a:off x="2610322" y="1870568"/>
              <a:ext cx="1020447" cy="2032000"/>
            </a:xfrm>
            <a:prstGeom prst="curvedRightArrow">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5814">
                <a:defRPr/>
              </a:pPr>
              <a:endParaRPr lang="en-CA" sz="819" dirty="0">
                <a:solidFill>
                  <a:srgbClr val="494949"/>
                </a:solidFill>
                <a:latin typeface="Roboto Condensed Light" panose="02000000000000000000" pitchFamily="2" charset="0"/>
              </a:endParaRPr>
            </a:p>
          </p:txBody>
        </p:sp>
      </p:grpSp>
      <p:grpSp>
        <p:nvGrpSpPr>
          <p:cNvPr id="27" name="Group 26">
            <a:extLst>
              <a:ext uri="{FF2B5EF4-FFF2-40B4-BE49-F238E27FC236}">
                <a16:creationId xmlns:a16="http://schemas.microsoft.com/office/drawing/2014/main" id="{EA30C27E-1F71-4805-BA63-3932D6AB0A4C}"/>
              </a:ext>
            </a:extLst>
          </p:cNvPr>
          <p:cNvGrpSpPr/>
          <p:nvPr/>
        </p:nvGrpSpPr>
        <p:grpSpPr>
          <a:xfrm>
            <a:off x="209845" y="3129990"/>
            <a:ext cx="2405478" cy="1253585"/>
            <a:chOff x="262565" y="2645255"/>
            <a:chExt cx="3548669" cy="1926565"/>
          </a:xfrm>
        </p:grpSpPr>
        <p:sp>
          <p:nvSpPr>
            <p:cNvPr id="131" name="Freeform 7">
              <a:extLst>
                <a:ext uri="{FF2B5EF4-FFF2-40B4-BE49-F238E27FC236}">
                  <a16:creationId xmlns:a16="http://schemas.microsoft.com/office/drawing/2014/main" id="{C3C22F4D-14B6-41D2-B722-2C561E26FD3A}"/>
                </a:ext>
              </a:extLst>
            </p:cNvPr>
            <p:cNvSpPr>
              <a:spLocks/>
            </p:cNvSpPr>
            <p:nvPr/>
          </p:nvSpPr>
          <p:spPr bwMode="auto">
            <a:xfrm>
              <a:off x="661318" y="3523404"/>
              <a:ext cx="1464035" cy="483177"/>
            </a:xfrm>
            <a:custGeom>
              <a:avLst/>
              <a:gdLst>
                <a:gd name="T0" fmla="*/ 872 w 874"/>
                <a:gd name="T1" fmla="*/ 0 h 553"/>
                <a:gd name="T2" fmla="*/ 680 w 874"/>
                <a:gd name="T3" fmla="*/ 71 h 553"/>
                <a:gd name="T4" fmla="*/ 437 w 874"/>
                <a:gd name="T5" fmla="*/ 89 h 553"/>
                <a:gd name="T6" fmla="*/ 3 w 874"/>
                <a:gd name="T7" fmla="*/ 0 h 553"/>
                <a:gd name="T8" fmla="*/ 3 w 874"/>
                <a:gd name="T9" fmla="*/ 0 h 553"/>
                <a:gd name="T10" fmla="*/ 0 w 874"/>
                <a:gd name="T11" fmla="*/ 0 h 553"/>
                <a:gd name="T12" fmla="*/ 1 w 874"/>
                <a:gd name="T13" fmla="*/ 1 h 553"/>
                <a:gd name="T14" fmla="*/ 15 w 874"/>
                <a:gd name="T15" fmla="*/ 35 h 553"/>
                <a:gd name="T16" fmla="*/ 61 w 874"/>
                <a:gd name="T17" fmla="*/ 142 h 553"/>
                <a:gd name="T18" fmla="*/ 224 w 874"/>
                <a:gd name="T19" fmla="*/ 524 h 553"/>
                <a:gd name="T20" fmla="*/ 427 w 874"/>
                <a:gd name="T21" fmla="*/ 553 h 553"/>
                <a:gd name="T22" fmla="*/ 437 w 874"/>
                <a:gd name="T23" fmla="*/ 553 h 553"/>
                <a:gd name="T24" fmla="*/ 448 w 874"/>
                <a:gd name="T25" fmla="*/ 553 h 553"/>
                <a:gd name="T26" fmla="*/ 651 w 874"/>
                <a:gd name="T27" fmla="*/ 524 h 553"/>
                <a:gd name="T28" fmla="*/ 859 w 874"/>
                <a:gd name="T29" fmla="*/ 35 h 553"/>
                <a:gd name="T30" fmla="*/ 874 w 874"/>
                <a:gd name="T31" fmla="*/ 0 h 553"/>
                <a:gd name="T32" fmla="*/ 872 w 874"/>
                <a:gd name="T33"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4" h="553">
                  <a:moveTo>
                    <a:pt x="872" y="0"/>
                  </a:moveTo>
                  <a:cubicBezTo>
                    <a:pt x="843" y="32"/>
                    <a:pt x="771" y="56"/>
                    <a:pt x="680" y="71"/>
                  </a:cubicBezTo>
                  <a:cubicBezTo>
                    <a:pt x="607" y="83"/>
                    <a:pt x="522" y="89"/>
                    <a:pt x="437" y="89"/>
                  </a:cubicBezTo>
                  <a:cubicBezTo>
                    <a:pt x="246" y="88"/>
                    <a:pt x="55" y="59"/>
                    <a:pt x="3" y="0"/>
                  </a:cubicBezTo>
                  <a:cubicBezTo>
                    <a:pt x="3" y="0"/>
                    <a:pt x="3" y="0"/>
                    <a:pt x="3" y="0"/>
                  </a:cubicBezTo>
                  <a:cubicBezTo>
                    <a:pt x="0" y="0"/>
                    <a:pt x="0" y="0"/>
                    <a:pt x="0" y="0"/>
                  </a:cubicBezTo>
                  <a:cubicBezTo>
                    <a:pt x="1" y="1"/>
                    <a:pt x="1" y="1"/>
                    <a:pt x="1" y="1"/>
                  </a:cubicBezTo>
                  <a:cubicBezTo>
                    <a:pt x="15" y="35"/>
                    <a:pt x="15" y="35"/>
                    <a:pt x="15" y="35"/>
                  </a:cubicBezTo>
                  <a:cubicBezTo>
                    <a:pt x="61" y="142"/>
                    <a:pt x="61" y="142"/>
                    <a:pt x="61" y="142"/>
                  </a:cubicBezTo>
                  <a:cubicBezTo>
                    <a:pt x="224" y="524"/>
                    <a:pt x="224" y="524"/>
                    <a:pt x="224" y="524"/>
                  </a:cubicBezTo>
                  <a:cubicBezTo>
                    <a:pt x="289" y="543"/>
                    <a:pt x="357" y="553"/>
                    <a:pt x="427" y="553"/>
                  </a:cubicBezTo>
                  <a:cubicBezTo>
                    <a:pt x="430" y="553"/>
                    <a:pt x="434" y="553"/>
                    <a:pt x="437" y="553"/>
                  </a:cubicBezTo>
                  <a:cubicBezTo>
                    <a:pt x="441" y="553"/>
                    <a:pt x="445" y="553"/>
                    <a:pt x="448" y="553"/>
                  </a:cubicBezTo>
                  <a:cubicBezTo>
                    <a:pt x="518" y="553"/>
                    <a:pt x="586" y="543"/>
                    <a:pt x="651" y="524"/>
                  </a:cubicBezTo>
                  <a:cubicBezTo>
                    <a:pt x="859" y="35"/>
                    <a:pt x="859" y="35"/>
                    <a:pt x="859" y="35"/>
                  </a:cubicBezTo>
                  <a:cubicBezTo>
                    <a:pt x="874" y="0"/>
                    <a:pt x="874" y="0"/>
                    <a:pt x="874" y="0"/>
                  </a:cubicBezTo>
                  <a:lnTo>
                    <a:pt x="872" y="0"/>
                  </a:lnTo>
                  <a:close/>
                </a:path>
              </a:pathLst>
            </a:custGeom>
            <a:solidFill>
              <a:srgbClr val="95B8F2"/>
            </a:solidFill>
            <a:ln w="3175" cap="flat">
              <a:noFill/>
              <a:prstDash val="solid"/>
              <a:miter lim="800000"/>
              <a:headEnd/>
              <a:tailEnd/>
            </a:ln>
          </p:spPr>
          <p:txBody>
            <a:bodyPr vert="horz" wrap="square" lIns="68553" tIns="34277" rIns="68553" bIns="34277" numCol="1" anchor="t" anchorCtr="0" compatLnSpc="1">
              <a:prstTxWarp prst="textNoShape">
                <a:avLst/>
              </a:prstTxWarp>
            </a:bodyPr>
            <a:lstStyle/>
            <a:p>
              <a:pPr defTabSz="685571">
                <a:defRPr/>
              </a:pPr>
              <a:endParaRPr lang="id-ID" sz="2699" dirty="0">
                <a:solidFill>
                  <a:srgbClr val="2A2A2A"/>
                </a:solidFill>
                <a:latin typeface="Roboto Light" panose="02000000000000000000" pitchFamily="2" charset="0"/>
                <a:ea typeface="Roboto Light" panose="02000000000000000000" pitchFamily="2" charset="0"/>
              </a:endParaRPr>
            </a:p>
          </p:txBody>
        </p:sp>
        <p:sp>
          <p:nvSpPr>
            <p:cNvPr id="132" name="Freeform 10">
              <a:extLst>
                <a:ext uri="{FF2B5EF4-FFF2-40B4-BE49-F238E27FC236}">
                  <a16:creationId xmlns:a16="http://schemas.microsoft.com/office/drawing/2014/main" id="{2B361926-3ADC-4054-8740-DC1749FF9A28}"/>
                </a:ext>
              </a:extLst>
            </p:cNvPr>
            <p:cNvSpPr>
              <a:spLocks/>
            </p:cNvSpPr>
            <p:nvPr/>
          </p:nvSpPr>
          <p:spPr bwMode="auto">
            <a:xfrm>
              <a:off x="262565" y="2926411"/>
              <a:ext cx="2279002" cy="484692"/>
            </a:xfrm>
            <a:custGeom>
              <a:avLst/>
              <a:gdLst>
                <a:gd name="T0" fmla="*/ 1357 w 1359"/>
                <a:gd name="T1" fmla="*/ 0 h 555"/>
                <a:gd name="T2" fmla="*/ 1352 w 1359"/>
                <a:gd name="T3" fmla="*/ 2 h 555"/>
                <a:gd name="T4" fmla="*/ 741 w 1359"/>
                <a:gd name="T5" fmla="*/ 122 h 555"/>
                <a:gd name="T6" fmla="*/ 679 w 1359"/>
                <a:gd name="T7" fmla="*/ 123 h 555"/>
                <a:gd name="T8" fmla="*/ 9 w 1359"/>
                <a:gd name="T9" fmla="*/ 3 h 555"/>
                <a:gd name="T10" fmla="*/ 7 w 1359"/>
                <a:gd name="T11" fmla="*/ 2 h 555"/>
                <a:gd name="T12" fmla="*/ 2 w 1359"/>
                <a:gd name="T13" fmla="*/ 0 h 555"/>
                <a:gd name="T14" fmla="*/ 0 w 1359"/>
                <a:gd name="T15" fmla="*/ 0 h 555"/>
                <a:gd name="T16" fmla="*/ 3 w 1359"/>
                <a:gd name="T17" fmla="*/ 6 h 555"/>
                <a:gd name="T18" fmla="*/ 19 w 1359"/>
                <a:gd name="T19" fmla="*/ 45 h 555"/>
                <a:gd name="T20" fmla="*/ 196 w 1359"/>
                <a:gd name="T21" fmla="*/ 469 h 555"/>
                <a:gd name="T22" fmla="*/ 426 w 1359"/>
                <a:gd name="T23" fmla="*/ 535 h 555"/>
                <a:gd name="T24" fmla="*/ 654 w 1359"/>
                <a:gd name="T25" fmla="*/ 555 h 555"/>
                <a:gd name="T26" fmla="*/ 679 w 1359"/>
                <a:gd name="T27" fmla="*/ 555 h 555"/>
                <a:gd name="T28" fmla="*/ 705 w 1359"/>
                <a:gd name="T29" fmla="*/ 555 h 555"/>
                <a:gd name="T30" fmla="*/ 1113 w 1359"/>
                <a:gd name="T31" fmla="*/ 487 h 555"/>
                <a:gd name="T32" fmla="*/ 1162 w 1359"/>
                <a:gd name="T33" fmla="*/ 469 h 555"/>
                <a:gd name="T34" fmla="*/ 1359 w 1359"/>
                <a:gd name="T35" fmla="*/ 0 h 555"/>
                <a:gd name="T36" fmla="*/ 1357 w 1359"/>
                <a:gd name="T37"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9" h="555">
                  <a:moveTo>
                    <a:pt x="1357" y="0"/>
                  </a:moveTo>
                  <a:cubicBezTo>
                    <a:pt x="1355" y="1"/>
                    <a:pt x="1354" y="1"/>
                    <a:pt x="1352" y="2"/>
                  </a:cubicBezTo>
                  <a:cubicBezTo>
                    <a:pt x="1179" y="71"/>
                    <a:pt x="969" y="114"/>
                    <a:pt x="741" y="122"/>
                  </a:cubicBezTo>
                  <a:cubicBezTo>
                    <a:pt x="721" y="123"/>
                    <a:pt x="700" y="123"/>
                    <a:pt x="679" y="123"/>
                  </a:cubicBezTo>
                  <a:cubicBezTo>
                    <a:pt x="428" y="122"/>
                    <a:pt x="197" y="77"/>
                    <a:pt x="9" y="3"/>
                  </a:cubicBezTo>
                  <a:cubicBezTo>
                    <a:pt x="9" y="3"/>
                    <a:pt x="8" y="2"/>
                    <a:pt x="7" y="2"/>
                  </a:cubicBezTo>
                  <a:cubicBezTo>
                    <a:pt x="5" y="1"/>
                    <a:pt x="3" y="1"/>
                    <a:pt x="2" y="0"/>
                  </a:cubicBezTo>
                  <a:cubicBezTo>
                    <a:pt x="0" y="0"/>
                    <a:pt x="0" y="0"/>
                    <a:pt x="0" y="0"/>
                  </a:cubicBezTo>
                  <a:cubicBezTo>
                    <a:pt x="3" y="6"/>
                    <a:pt x="3" y="6"/>
                    <a:pt x="3" y="6"/>
                  </a:cubicBezTo>
                  <a:cubicBezTo>
                    <a:pt x="19" y="45"/>
                    <a:pt x="19" y="45"/>
                    <a:pt x="19" y="45"/>
                  </a:cubicBezTo>
                  <a:cubicBezTo>
                    <a:pt x="196" y="469"/>
                    <a:pt x="196" y="469"/>
                    <a:pt x="196" y="469"/>
                  </a:cubicBezTo>
                  <a:cubicBezTo>
                    <a:pt x="269" y="498"/>
                    <a:pt x="346" y="520"/>
                    <a:pt x="426" y="535"/>
                  </a:cubicBezTo>
                  <a:cubicBezTo>
                    <a:pt x="500" y="548"/>
                    <a:pt x="576" y="555"/>
                    <a:pt x="654" y="555"/>
                  </a:cubicBezTo>
                  <a:cubicBezTo>
                    <a:pt x="663" y="555"/>
                    <a:pt x="671" y="555"/>
                    <a:pt x="679" y="555"/>
                  </a:cubicBezTo>
                  <a:cubicBezTo>
                    <a:pt x="688" y="555"/>
                    <a:pt x="696" y="555"/>
                    <a:pt x="705" y="555"/>
                  </a:cubicBezTo>
                  <a:cubicBezTo>
                    <a:pt x="849" y="555"/>
                    <a:pt x="986" y="531"/>
                    <a:pt x="1113" y="487"/>
                  </a:cubicBezTo>
                  <a:cubicBezTo>
                    <a:pt x="1130" y="482"/>
                    <a:pt x="1146" y="476"/>
                    <a:pt x="1162" y="469"/>
                  </a:cubicBezTo>
                  <a:cubicBezTo>
                    <a:pt x="1359" y="0"/>
                    <a:pt x="1359" y="0"/>
                    <a:pt x="1359" y="0"/>
                  </a:cubicBezTo>
                  <a:lnTo>
                    <a:pt x="1357" y="0"/>
                  </a:lnTo>
                  <a:close/>
                </a:path>
              </a:pathLst>
            </a:custGeom>
            <a:solidFill>
              <a:srgbClr val="B8CFF6"/>
            </a:solidFill>
            <a:ln w="3175" cap="flat">
              <a:noFill/>
              <a:prstDash val="solid"/>
              <a:miter lim="800000"/>
              <a:headEnd/>
              <a:tailEnd/>
            </a:ln>
          </p:spPr>
          <p:txBody>
            <a:bodyPr vert="horz" wrap="square" lIns="68553" tIns="34277" rIns="68553" bIns="34277" numCol="1" anchor="t" anchorCtr="0" compatLnSpc="1">
              <a:prstTxWarp prst="textNoShape">
                <a:avLst/>
              </a:prstTxWarp>
            </a:bodyPr>
            <a:lstStyle/>
            <a:p>
              <a:pPr defTabSz="685571">
                <a:defRPr/>
              </a:pPr>
              <a:endParaRPr lang="id-ID" sz="2699" dirty="0">
                <a:solidFill>
                  <a:srgbClr val="2A2A2A"/>
                </a:solidFill>
                <a:latin typeface="Roboto Light" panose="02000000000000000000" pitchFamily="2" charset="0"/>
                <a:ea typeface="Roboto Light" panose="02000000000000000000" pitchFamily="2" charset="0"/>
              </a:endParaRPr>
            </a:p>
          </p:txBody>
        </p:sp>
        <p:sp>
          <p:nvSpPr>
            <p:cNvPr id="7" name="Rectangle 6">
              <a:extLst>
                <a:ext uri="{FF2B5EF4-FFF2-40B4-BE49-F238E27FC236}">
                  <a16:creationId xmlns:a16="http://schemas.microsoft.com/office/drawing/2014/main" id="{F0D15BD4-67B6-4961-9052-3E5293CC615D}"/>
                </a:ext>
              </a:extLst>
            </p:cNvPr>
            <p:cNvSpPr/>
            <p:nvPr/>
          </p:nvSpPr>
          <p:spPr>
            <a:xfrm>
              <a:off x="702691" y="2645255"/>
              <a:ext cx="1820927" cy="354753"/>
            </a:xfrm>
            <a:prstGeom prst="rect">
              <a:avLst/>
            </a:prstGeom>
          </p:spPr>
          <p:txBody>
            <a:bodyPr wrap="square">
              <a:spAutoFit/>
            </a:bodyPr>
            <a:lstStyle/>
            <a:p>
              <a:pPr algn="ctr" defTabSz="415814">
                <a:defRPr/>
              </a:pPr>
              <a:r>
                <a:rPr lang="en-US" sz="900" b="1" dirty="0">
                  <a:solidFill>
                    <a:srgbClr val="08204C"/>
                  </a:solidFill>
                  <a:latin typeface="Tenorite" panose="00000500000000000000" pitchFamily="2" charset="0"/>
                  <a:ea typeface="Roboto Light" panose="02000000000000000000" pitchFamily="2" charset="0"/>
                </a:rPr>
                <a:t>University Strategy</a:t>
              </a:r>
            </a:p>
          </p:txBody>
        </p:sp>
        <p:sp>
          <p:nvSpPr>
            <p:cNvPr id="8" name="Rectangle 7">
              <a:extLst>
                <a:ext uri="{FF2B5EF4-FFF2-40B4-BE49-F238E27FC236}">
                  <a16:creationId xmlns:a16="http://schemas.microsoft.com/office/drawing/2014/main" id="{0AF076FF-8646-4D15-BD83-491CBAD443A5}"/>
                </a:ext>
              </a:extLst>
            </p:cNvPr>
            <p:cNvSpPr/>
            <p:nvPr/>
          </p:nvSpPr>
          <p:spPr>
            <a:xfrm>
              <a:off x="650478" y="3359167"/>
              <a:ext cx="1644809" cy="354753"/>
            </a:xfrm>
            <a:prstGeom prst="rect">
              <a:avLst/>
            </a:prstGeom>
          </p:spPr>
          <p:txBody>
            <a:bodyPr wrap="square">
              <a:spAutoFit/>
            </a:bodyPr>
            <a:lstStyle/>
            <a:p>
              <a:pPr algn="ctr" defTabSz="415814">
                <a:defRPr/>
              </a:pPr>
              <a:r>
                <a:rPr lang="en-US" sz="900" b="1" dirty="0">
                  <a:solidFill>
                    <a:srgbClr val="08204C"/>
                  </a:solidFill>
                  <a:latin typeface="Tenorite" panose="00000500000000000000" pitchFamily="2" charset="0"/>
                  <a:ea typeface="Roboto Light" panose="02000000000000000000" pitchFamily="2" charset="0"/>
                </a:rPr>
                <a:t>Data Strategy</a:t>
              </a:r>
              <a:endParaRPr lang="en-CA" sz="900" dirty="0">
                <a:solidFill>
                  <a:srgbClr val="494949"/>
                </a:solidFill>
                <a:latin typeface="Tenorite" panose="00000500000000000000" pitchFamily="2" charset="0"/>
                <a:ea typeface="Roboto Light" panose="02000000000000000000" pitchFamily="2" charset="0"/>
              </a:endParaRPr>
            </a:p>
          </p:txBody>
        </p:sp>
        <p:sp>
          <p:nvSpPr>
            <p:cNvPr id="13" name="Arrow: Bent 12">
              <a:extLst>
                <a:ext uri="{FF2B5EF4-FFF2-40B4-BE49-F238E27FC236}">
                  <a16:creationId xmlns:a16="http://schemas.microsoft.com/office/drawing/2014/main" id="{8DDFED67-5219-4A40-9641-DD663539535F}"/>
                </a:ext>
              </a:extLst>
            </p:cNvPr>
            <p:cNvSpPr/>
            <p:nvPr/>
          </p:nvSpPr>
          <p:spPr>
            <a:xfrm flipV="1">
              <a:off x="1357011" y="4088644"/>
              <a:ext cx="2454223" cy="483176"/>
            </a:xfrm>
            <a:prstGeom prst="bentArrow">
              <a:avLst>
                <a:gd name="adj1" fmla="val 38669"/>
                <a:gd name="adj2" fmla="val 28672"/>
                <a:gd name="adj3" fmla="val 25000"/>
                <a:gd name="adj4" fmla="val 31012"/>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5814">
                <a:defRPr/>
              </a:pPr>
              <a:endParaRPr lang="en-CA" sz="819" dirty="0">
                <a:solidFill>
                  <a:srgbClr val="494949"/>
                </a:solidFill>
                <a:latin typeface="Roboto Condensed Light" panose="02000000000000000000" pitchFamily="2" charset="0"/>
              </a:endParaRPr>
            </a:p>
          </p:txBody>
        </p:sp>
        <p:sp>
          <p:nvSpPr>
            <p:cNvPr id="26" name="TextBox 25">
              <a:extLst>
                <a:ext uri="{FF2B5EF4-FFF2-40B4-BE49-F238E27FC236}">
                  <a16:creationId xmlns:a16="http://schemas.microsoft.com/office/drawing/2014/main" id="{56135912-AFE9-4CDC-8DD7-817EA93FBB7D}"/>
                </a:ext>
              </a:extLst>
            </p:cNvPr>
            <p:cNvSpPr txBox="1"/>
            <p:nvPr/>
          </p:nvSpPr>
          <p:spPr>
            <a:xfrm>
              <a:off x="1870158" y="3851881"/>
              <a:ext cx="1904293" cy="276999"/>
            </a:xfrm>
            <a:prstGeom prst="rect">
              <a:avLst/>
            </a:prstGeom>
          </p:spPr>
          <p:txBody>
            <a:bodyPr wrap="square" lIns="0" tIns="0" rIns="0" bIns="0" numCol="1" spcCol="360000" rtlCol="0">
              <a:noAutofit/>
            </a:bodyPr>
            <a:lstStyle/>
            <a:p>
              <a:pPr defTabSz="415814">
                <a:lnSpc>
                  <a:spcPct val="110000"/>
                </a:lnSpc>
                <a:defRPr/>
              </a:pPr>
              <a:r>
                <a:rPr lang="en-US" sz="900" b="1" dirty="0">
                  <a:solidFill>
                    <a:srgbClr val="494949">
                      <a:lumMod val="50000"/>
                    </a:srgbClr>
                  </a:solidFill>
                  <a:latin typeface="Tenorite" panose="00000500000000000000" pitchFamily="2" charset="0"/>
                  <a:ea typeface="Roboto Light" panose="02000000000000000000" pitchFamily="2" charset="0"/>
                </a:rPr>
                <a:t>Strategic Goals &amp; Objectives </a:t>
              </a:r>
              <a:endParaRPr lang="en-CA" sz="900" b="1" dirty="0">
                <a:solidFill>
                  <a:srgbClr val="494949">
                    <a:lumMod val="50000"/>
                  </a:srgbClr>
                </a:solidFill>
                <a:latin typeface="Tenorite" panose="00000500000000000000" pitchFamily="2" charset="0"/>
                <a:ea typeface="Roboto Light" panose="02000000000000000000" pitchFamily="2" charset="0"/>
              </a:endParaRPr>
            </a:p>
          </p:txBody>
        </p:sp>
      </p:grpSp>
      <p:sp>
        <p:nvSpPr>
          <p:cNvPr id="30" name="TextBox 29">
            <a:extLst>
              <a:ext uri="{FF2B5EF4-FFF2-40B4-BE49-F238E27FC236}">
                <a16:creationId xmlns:a16="http://schemas.microsoft.com/office/drawing/2014/main" id="{C791D2A0-A2A3-46B9-956F-19E87C6F1659}"/>
              </a:ext>
            </a:extLst>
          </p:cNvPr>
          <p:cNvSpPr txBox="1"/>
          <p:nvPr/>
        </p:nvSpPr>
        <p:spPr>
          <a:xfrm>
            <a:off x="2358528" y="2766149"/>
            <a:ext cx="618702" cy="346204"/>
          </a:xfrm>
          <a:prstGeom prst="rect">
            <a:avLst/>
          </a:prstGeom>
        </p:spPr>
        <p:txBody>
          <a:bodyPr wrap="square" lIns="0" tIns="0" rIns="0" bIns="0" numCol="1" spcCol="360000" rtlCol="0">
            <a:noAutofit/>
          </a:bodyPr>
          <a:lstStyle/>
          <a:p>
            <a:pPr algn="ctr" defTabSz="415814">
              <a:lnSpc>
                <a:spcPct val="110000"/>
              </a:lnSpc>
              <a:defRPr/>
            </a:pPr>
            <a:r>
              <a:rPr lang="en-US" sz="900" b="1" dirty="0">
                <a:solidFill>
                  <a:srgbClr val="494949">
                    <a:lumMod val="50000"/>
                  </a:srgbClr>
                </a:solidFill>
                <a:latin typeface="Tenorite" panose="00000500000000000000" pitchFamily="2" charset="0"/>
                <a:ea typeface="Roboto Light" panose="02000000000000000000" pitchFamily="2" charset="0"/>
              </a:rPr>
              <a:t>Oversight  &amp; Alignment </a:t>
            </a:r>
          </a:p>
        </p:txBody>
      </p:sp>
      <p:pic>
        <p:nvPicPr>
          <p:cNvPr id="2" name="Picture 1">
            <a:extLst>
              <a:ext uri="{FF2B5EF4-FFF2-40B4-BE49-F238E27FC236}">
                <a16:creationId xmlns:a16="http://schemas.microsoft.com/office/drawing/2014/main" id="{A8422D5A-3F3D-30D0-E5B9-EF57F109622D}"/>
              </a:ext>
            </a:extLst>
          </p:cNvPr>
          <p:cNvPicPr>
            <a:picLocks noChangeAspect="1"/>
          </p:cNvPicPr>
          <p:nvPr/>
        </p:nvPicPr>
        <p:blipFill>
          <a:blip r:embed="rId3"/>
          <a:stretch>
            <a:fillRect/>
          </a:stretch>
        </p:blipFill>
        <p:spPr>
          <a:xfrm>
            <a:off x="38100" y="6180848"/>
            <a:ext cx="9105900" cy="687554"/>
          </a:xfrm>
          <a:prstGeom prst="rect">
            <a:avLst/>
          </a:prstGeom>
        </p:spPr>
      </p:pic>
      <p:pic>
        <p:nvPicPr>
          <p:cNvPr id="4" name="Picture 3">
            <a:extLst>
              <a:ext uri="{FF2B5EF4-FFF2-40B4-BE49-F238E27FC236}">
                <a16:creationId xmlns:a16="http://schemas.microsoft.com/office/drawing/2014/main" id="{A0AEDF4A-C062-5200-0C74-60F6A08C0793}"/>
              </a:ext>
            </a:extLst>
          </p:cNvPr>
          <p:cNvPicPr>
            <a:picLocks noChangeAspect="1"/>
          </p:cNvPicPr>
          <p:nvPr/>
        </p:nvPicPr>
        <p:blipFill>
          <a:blip r:embed="rId4"/>
          <a:stretch>
            <a:fillRect/>
          </a:stretch>
        </p:blipFill>
        <p:spPr>
          <a:xfrm>
            <a:off x="33356" y="-26142"/>
            <a:ext cx="1719221" cy="1031467"/>
          </a:xfrm>
          <a:prstGeom prst="rect">
            <a:avLst/>
          </a:prstGeom>
        </p:spPr>
      </p:pic>
      <p:pic>
        <p:nvPicPr>
          <p:cNvPr id="5" name="Picture 4">
            <a:extLst>
              <a:ext uri="{FF2B5EF4-FFF2-40B4-BE49-F238E27FC236}">
                <a16:creationId xmlns:a16="http://schemas.microsoft.com/office/drawing/2014/main" id="{BC27234D-373D-3809-F7C4-FF98C08567AC}"/>
              </a:ext>
            </a:extLst>
          </p:cNvPr>
          <p:cNvPicPr>
            <a:picLocks noChangeAspect="1"/>
          </p:cNvPicPr>
          <p:nvPr/>
        </p:nvPicPr>
        <p:blipFill>
          <a:blip r:embed="rId5"/>
          <a:stretch>
            <a:fillRect/>
          </a:stretch>
        </p:blipFill>
        <p:spPr>
          <a:xfrm>
            <a:off x="7419094" y="-28750"/>
            <a:ext cx="1685813" cy="1031467"/>
          </a:xfrm>
          <a:prstGeom prst="rect">
            <a:avLst/>
          </a:prstGeom>
        </p:spPr>
      </p:pic>
    </p:spTree>
    <p:extLst>
      <p:ext uri="{BB962C8B-B14F-4D97-AF65-F5344CB8AC3E}">
        <p14:creationId xmlns:p14="http://schemas.microsoft.com/office/powerpoint/2010/main" val="1638818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6949" y="96729"/>
            <a:ext cx="4610101" cy="877887"/>
          </a:xfrm>
        </p:spPr>
        <p:txBody>
          <a:bodyPr/>
          <a:lstStyle/>
          <a:p>
            <a:pPr algn="ctr"/>
            <a:r>
              <a:rPr lang="en-CA" sz="2800" b="1" dirty="0">
                <a:latin typeface="Georgia" panose="02040502050405020303" pitchFamily="18" charset="0"/>
              </a:rPr>
              <a:t>Harness the benefits</a:t>
            </a:r>
          </a:p>
        </p:txBody>
      </p:sp>
      <p:sp>
        <p:nvSpPr>
          <p:cNvPr id="7" name="Rectangle 6"/>
          <p:cNvSpPr/>
          <p:nvPr/>
        </p:nvSpPr>
        <p:spPr>
          <a:xfrm>
            <a:off x="4740679" y="1351623"/>
            <a:ext cx="4272741" cy="501763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Ø"/>
            </a:pPr>
            <a:r>
              <a:rPr lang="en-CA" sz="1600" dirty="0"/>
              <a:t>Increased efficiency in identification of possible graduates.</a:t>
            </a:r>
          </a:p>
          <a:p>
            <a:pPr marL="285750" indent="-285750">
              <a:buFont typeface="Wingdings" panose="05000000000000000000" pitchFamily="2" charset="2"/>
              <a:buChar char="Ø"/>
            </a:pPr>
            <a:r>
              <a:rPr lang="en-CA" sz="1600" dirty="0"/>
              <a:t>Graduates' information management</a:t>
            </a:r>
          </a:p>
          <a:p>
            <a:pPr marL="285750" indent="-285750">
              <a:buFont typeface="Wingdings" panose="05000000000000000000" pitchFamily="2" charset="2"/>
              <a:buChar char="Ø"/>
            </a:pPr>
            <a:r>
              <a:rPr lang="en-CA" sz="1600" dirty="0"/>
              <a:t>Producing error free graduation lists.</a:t>
            </a:r>
          </a:p>
          <a:p>
            <a:pPr marL="285750" indent="-285750">
              <a:buFont typeface="Wingdings" panose="05000000000000000000" pitchFamily="2" charset="2"/>
              <a:buChar char="Ø"/>
            </a:pPr>
            <a:r>
              <a:rPr lang="en-CA" sz="1600" dirty="0"/>
              <a:t>Improved data accuracy for decision making</a:t>
            </a:r>
          </a:p>
          <a:p>
            <a:pPr marL="285750" indent="-285750">
              <a:buFont typeface="Wingdings" panose="05000000000000000000" pitchFamily="2" charset="2"/>
              <a:buChar char="Ø"/>
            </a:pPr>
            <a:r>
              <a:rPr lang="en-CA" sz="1600" dirty="0"/>
              <a:t>Reduced administrative workload</a:t>
            </a:r>
          </a:p>
          <a:p>
            <a:pPr marL="285750" indent="-285750">
              <a:buFont typeface="Wingdings" panose="05000000000000000000" pitchFamily="2" charset="2"/>
              <a:buChar char="Ø"/>
            </a:pPr>
            <a:r>
              <a:rPr lang="en-CA" sz="1600" dirty="0"/>
              <a:t>Enhance student and faculty service satisfaction</a:t>
            </a:r>
          </a:p>
          <a:p>
            <a:pPr marL="285750" indent="-285750">
              <a:buFont typeface="Wingdings" panose="05000000000000000000" pitchFamily="2" charset="2"/>
              <a:buChar char="Ø"/>
            </a:pPr>
            <a:r>
              <a:rPr lang="en-CA" sz="1600" dirty="0"/>
              <a:t>Data integrity</a:t>
            </a:r>
          </a:p>
          <a:p>
            <a:pPr marL="285750" indent="-285750">
              <a:buFont typeface="Wingdings" panose="05000000000000000000" pitchFamily="2" charset="2"/>
              <a:buChar char="Ø"/>
            </a:pPr>
            <a:r>
              <a:rPr lang="en-CA" sz="1600" dirty="0"/>
              <a:t>Seamless Faculty approvals</a:t>
            </a:r>
          </a:p>
          <a:p>
            <a:pPr marL="285750" indent="-285750">
              <a:buFont typeface="Wingdings" panose="05000000000000000000" pitchFamily="2" charset="2"/>
              <a:buChar char="Ø"/>
            </a:pPr>
            <a:r>
              <a:rPr lang="en-CA" sz="1600" dirty="0"/>
              <a:t>Graduation Management  Journey Declaring that Universities are data driven</a:t>
            </a:r>
          </a:p>
          <a:p>
            <a:endParaRPr lang="en-CA" sz="1600" dirty="0"/>
          </a:p>
          <a:p>
            <a:endParaRPr lang="en-CA" dirty="0"/>
          </a:p>
        </p:txBody>
      </p:sp>
      <p:pic>
        <p:nvPicPr>
          <p:cNvPr id="8" name="Picture 7">
            <a:extLst>
              <a:ext uri="{FF2B5EF4-FFF2-40B4-BE49-F238E27FC236}">
                <a16:creationId xmlns:a16="http://schemas.microsoft.com/office/drawing/2014/main" id="{82902EB9-CF1E-1AD0-99B5-68E0C942A684}"/>
              </a:ext>
            </a:extLst>
          </p:cNvPr>
          <p:cNvPicPr>
            <a:picLocks noChangeAspect="1"/>
          </p:cNvPicPr>
          <p:nvPr/>
        </p:nvPicPr>
        <p:blipFill>
          <a:blip r:embed="rId2"/>
          <a:stretch>
            <a:fillRect/>
          </a:stretch>
        </p:blipFill>
        <p:spPr>
          <a:xfrm>
            <a:off x="0" y="6216021"/>
            <a:ext cx="9191625" cy="756212"/>
          </a:xfrm>
          <a:prstGeom prst="rect">
            <a:avLst/>
          </a:prstGeom>
        </p:spPr>
      </p:pic>
      <p:pic>
        <p:nvPicPr>
          <p:cNvPr id="12" name="Picture 11">
            <a:extLst>
              <a:ext uri="{FF2B5EF4-FFF2-40B4-BE49-F238E27FC236}">
                <a16:creationId xmlns:a16="http://schemas.microsoft.com/office/drawing/2014/main" id="{5A762DBD-3A80-83EE-F9A6-50CA2F530798}"/>
              </a:ext>
            </a:extLst>
          </p:cNvPr>
          <p:cNvPicPr>
            <a:picLocks noChangeAspect="1"/>
          </p:cNvPicPr>
          <p:nvPr/>
        </p:nvPicPr>
        <p:blipFill>
          <a:blip r:embed="rId3"/>
          <a:stretch>
            <a:fillRect/>
          </a:stretch>
        </p:blipFill>
        <p:spPr>
          <a:xfrm>
            <a:off x="134131" y="1296670"/>
            <a:ext cx="4138612" cy="5017639"/>
          </a:xfrm>
          <a:prstGeom prst="rect">
            <a:avLst/>
          </a:prstGeom>
          <a:solidFill>
            <a:schemeClr val="bg2"/>
          </a:solidFill>
        </p:spPr>
      </p:pic>
      <p:pic>
        <p:nvPicPr>
          <p:cNvPr id="16" name="Picture 15">
            <a:extLst>
              <a:ext uri="{FF2B5EF4-FFF2-40B4-BE49-F238E27FC236}">
                <a16:creationId xmlns:a16="http://schemas.microsoft.com/office/drawing/2014/main" id="{6116D3B8-0D2F-CD28-2CA1-C6C18DA9430A}"/>
              </a:ext>
            </a:extLst>
          </p:cNvPr>
          <p:cNvPicPr>
            <a:picLocks noChangeAspect="1"/>
          </p:cNvPicPr>
          <p:nvPr/>
        </p:nvPicPr>
        <p:blipFill>
          <a:blip r:embed="rId4"/>
          <a:stretch>
            <a:fillRect/>
          </a:stretch>
        </p:blipFill>
        <p:spPr>
          <a:xfrm>
            <a:off x="28725" y="24384"/>
            <a:ext cx="1719221" cy="1115665"/>
          </a:xfrm>
          <a:prstGeom prst="rect">
            <a:avLst/>
          </a:prstGeom>
        </p:spPr>
      </p:pic>
      <p:pic>
        <p:nvPicPr>
          <p:cNvPr id="17" name="Picture 16">
            <a:extLst>
              <a:ext uri="{FF2B5EF4-FFF2-40B4-BE49-F238E27FC236}">
                <a16:creationId xmlns:a16="http://schemas.microsoft.com/office/drawing/2014/main" id="{81E7BB01-8E90-FA52-AAB8-BAC13C8F053E}"/>
              </a:ext>
            </a:extLst>
          </p:cNvPr>
          <p:cNvPicPr>
            <a:picLocks noChangeAspect="1"/>
          </p:cNvPicPr>
          <p:nvPr/>
        </p:nvPicPr>
        <p:blipFill>
          <a:blip r:embed="rId5"/>
          <a:stretch>
            <a:fillRect/>
          </a:stretch>
        </p:blipFill>
        <p:spPr>
          <a:xfrm>
            <a:off x="7365077" y="-34354"/>
            <a:ext cx="1778923" cy="1140051"/>
          </a:xfrm>
          <a:prstGeom prst="rect">
            <a:avLst/>
          </a:prstGeom>
        </p:spPr>
      </p:pic>
      <p:graphicFrame>
        <p:nvGraphicFramePr>
          <p:cNvPr id="11" name="Chart 10">
            <a:extLst>
              <a:ext uri="{FF2B5EF4-FFF2-40B4-BE49-F238E27FC236}">
                <a16:creationId xmlns:a16="http://schemas.microsoft.com/office/drawing/2014/main" id="{B07904E8-7803-1698-89A0-A001955098FD}"/>
              </a:ext>
            </a:extLst>
          </p:cNvPr>
          <p:cNvGraphicFramePr/>
          <p:nvPr>
            <p:extLst>
              <p:ext uri="{D42A27DB-BD31-4B8C-83A1-F6EECF244321}">
                <p14:modId xmlns:p14="http://schemas.microsoft.com/office/powerpoint/2010/main" val="2160075955"/>
              </p:ext>
            </p:extLst>
          </p:nvPr>
        </p:nvGraphicFramePr>
        <p:xfrm>
          <a:off x="311414" y="2356585"/>
          <a:ext cx="3784046" cy="3801103"/>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a:extLst>
              <a:ext uri="{FF2B5EF4-FFF2-40B4-BE49-F238E27FC236}">
                <a16:creationId xmlns:a16="http://schemas.microsoft.com/office/drawing/2014/main" id="{2D4294F1-11F4-6A20-44E9-27E175CB1393}"/>
              </a:ext>
            </a:extLst>
          </p:cNvPr>
          <p:cNvSpPr txBox="1"/>
          <p:nvPr/>
        </p:nvSpPr>
        <p:spPr>
          <a:xfrm>
            <a:off x="888335" y="1462103"/>
            <a:ext cx="3143338" cy="646331"/>
          </a:xfrm>
          <a:prstGeom prst="rect">
            <a:avLst/>
          </a:prstGeom>
        </p:spPr>
        <p:txBody>
          <a:bodyPr wrap="square" rtlCol="0">
            <a:spAutoFit/>
          </a:bodyPr>
          <a:lstStyle/>
          <a:p>
            <a:pPr algn="ctr"/>
            <a:r>
              <a:rPr lang="en-US" b="1" i="1" dirty="0">
                <a:solidFill>
                  <a:schemeClr val="bg1"/>
                </a:solidFill>
              </a:rPr>
              <a:t>2024 Graduation Stats (WSU &amp; CUT)</a:t>
            </a:r>
            <a:endParaRPr lang="en-ZA" b="1" i="1" dirty="0">
              <a:solidFill>
                <a:schemeClr val="bg1"/>
              </a:solidFill>
            </a:endParaRPr>
          </a:p>
        </p:txBody>
      </p:sp>
    </p:spTree>
    <p:extLst>
      <p:ext uri="{BB962C8B-B14F-4D97-AF65-F5344CB8AC3E}">
        <p14:creationId xmlns:p14="http://schemas.microsoft.com/office/powerpoint/2010/main" val="2545350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1" name="Rounded Rectangle 70"/>
          <p:cNvSpPr/>
          <p:nvPr/>
        </p:nvSpPr>
        <p:spPr>
          <a:xfrm>
            <a:off x="39873" y="1680685"/>
            <a:ext cx="4356204" cy="3910146"/>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2" name="Rectangle 71"/>
          <p:cNvSpPr/>
          <p:nvPr/>
        </p:nvSpPr>
        <p:spPr>
          <a:xfrm>
            <a:off x="37432" y="5281334"/>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cxnSp>
        <p:nvCxnSpPr>
          <p:cNvPr id="73" name="Straight Arrow Connector 72"/>
          <p:cNvCxnSpPr>
            <a:stCxn id="85" idx="2"/>
          </p:cNvCxnSpPr>
          <p:nvPr/>
        </p:nvCxnSpPr>
        <p:spPr>
          <a:xfrm>
            <a:off x="2705775" y="3098575"/>
            <a:ext cx="7995256" cy="133644"/>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59899" y="2025295"/>
            <a:ext cx="1662524" cy="2847145"/>
            <a:chOff x="6611507" y="1574599"/>
            <a:chExt cx="1662524" cy="2847145"/>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77" name="TextBox 76"/>
            <p:cNvSpPr txBox="1"/>
            <p:nvPr/>
          </p:nvSpPr>
          <p:spPr>
            <a:xfrm>
              <a:off x="6611507" y="2981744"/>
              <a:ext cx="1620000" cy="1440000"/>
            </a:xfrm>
            <a:prstGeom prst="rect">
              <a:avLst/>
            </a:prstGeom>
            <a:noFill/>
          </p:spPr>
          <p:txBody>
            <a:bodyPr wrap="square" rtlCol="0">
              <a:noAutofit/>
            </a:bodyPr>
            <a:lstStyle/>
            <a:p>
              <a:pPr lvl="0" algn="ctr">
                <a:defRPr/>
              </a:pPr>
              <a:r>
                <a:rPr kumimoji="0" lang="en-US" sz="1100" b="0" i="0" u="none" strike="noStrike" kern="0" cap="none" spc="0" normalizeH="0" baseline="0" noProof="0" dirty="0">
                  <a:ln>
                    <a:noFill/>
                  </a:ln>
                  <a:solidFill>
                    <a:srgbClr val="C00000"/>
                  </a:solidFill>
                  <a:effectLst/>
                  <a:uLnTx/>
                  <a:uFillTx/>
                  <a:latin typeface="Söhne"/>
                </a:rPr>
                <a:t>We will continue consulting with internal stakeholders to determine the awareness platforms, </a:t>
              </a:r>
            </a:p>
            <a:p>
              <a:pPr lvl="0" algn="ctr">
                <a:defRPr/>
              </a:pPr>
              <a:endParaRPr kumimoji="0" lang="en-US" sz="1100" b="0" i="0" u="none" strike="noStrike" kern="0" cap="none" spc="0" normalizeH="0" baseline="0" noProof="0" dirty="0">
                <a:ln>
                  <a:noFill/>
                </a:ln>
                <a:solidFill>
                  <a:srgbClr val="C00000"/>
                </a:solidFill>
                <a:effectLst/>
                <a:uLnTx/>
                <a:uFillTx/>
              </a:endParaRPr>
            </a:p>
            <a:p>
              <a:pPr lvl="0" algn="ctr">
                <a:defRPr/>
              </a:pPr>
              <a:endParaRPr kumimoji="0" lang="en-US" sz="1100" b="0" i="0" u="none" strike="noStrike" kern="0" cap="none" spc="0" normalizeH="0" baseline="0" noProof="0" dirty="0">
                <a:ln>
                  <a:noFill/>
                </a:ln>
                <a:solidFill>
                  <a:srgbClr val="29475F"/>
                </a:solidFill>
                <a:effectLst/>
                <a:uLnTx/>
                <a:uFillTx/>
              </a:endParaRPr>
            </a:p>
            <a:p>
              <a:pPr lvl="0" algn="ctr">
                <a:defRPr/>
              </a:pPr>
              <a:endParaRPr kumimoji="0" lang="en-US" sz="1100" b="0" i="0" u="none" strike="noStrike" kern="0" cap="none" spc="0" normalizeH="0" baseline="0" noProof="0" dirty="0">
                <a:ln>
                  <a:noFill/>
                </a:ln>
                <a:solidFill>
                  <a:srgbClr val="29475F"/>
                </a:solidFill>
                <a:effectLst/>
                <a:uLnTx/>
                <a:uFillTx/>
              </a:endParaRPr>
            </a:p>
            <a:p>
              <a:pPr lvl="0" algn="ctr">
                <a:defRPr/>
              </a:pPr>
              <a:endParaRPr kumimoji="0" lang="en-US" sz="1100" b="0" i="0" u="none" strike="noStrike" kern="0" cap="none" spc="0" normalizeH="0" baseline="0" noProof="0" dirty="0">
                <a:ln>
                  <a:noFill/>
                </a:ln>
                <a:solidFill>
                  <a:srgbClr val="29475F"/>
                </a:solidFill>
                <a:effectLst/>
                <a:uLnTx/>
                <a:uFillTx/>
              </a:endParaRP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81325" y="2025294"/>
            <a:ext cx="2191308" cy="3352571"/>
            <a:chOff x="2807522" y="2074912"/>
            <a:chExt cx="2129440" cy="3114807"/>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chemeClr val="accent3">
                      <a:lumMod val="75000"/>
                    </a:schemeClr>
                  </a:solidFill>
                  <a:effectLst/>
                  <a:uLnTx/>
                  <a:uFillTx/>
                  <a:latin typeface="Söhne"/>
                </a:rPr>
                <a:t>Guided Implementation</a:t>
              </a:r>
            </a:p>
          </p:txBody>
        </p:sp>
        <p:sp>
          <p:nvSpPr>
            <p:cNvPr id="82" name="TextBox 81"/>
            <p:cNvSpPr txBox="1"/>
            <p:nvPr/>
          </p:nvSpPr>
          <p:spPr>
            <a:xfrm>
              <a:off x="3062242" y="3572520"/>
              <a:ext cx="1735114" cy="1617199"/>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C00000"/>
                  </a:solidFill>
                  <a:effectLst/>
                  <a:uLnTx/>
                  <a:uFillTx/>
                </a:rPr>
                <a:t>“</a:t>
              </a:r>
              <a:r>
                <a:rPr lang="en-US" sz="1100" b="0" i="0" dirty="0">
                  <a:solidFill>
                    <a:srgbClr val="C00000"/>
                  </a:solidFill>
                  <a:effectLst/>
                  <a:latin typeface="Söhne"/>
                </a:rPr>
                <a:t>Both universities recognized the need to streamline a process but required assistance in identifying the focal points. Regular check-ins would ensure we stay on course. Adaptit provided guidance throughout the process</a:t>
              </a:r>
              <a:r>
                <a:rPr lang="en-US" sz="1100" b="0" i="0" dirty="0">
                  <a:solidFill>
                    <a:srgbClr val="0D0D0D"/>
                  </a:solidFill>
                  <a:effectLst/>
                  <a:latin typeface="Söhne"/>
                </a:rPr>
                <a:t>.</a:t>
              </a:r>
              <a:endParaRPr kumimoji="0" lang="en-CA" sz="1100" b="1" i="0" u="none" strike="noStrike" kern="0" cap="none" spc="0" normalizeH="0" baseline="0" noProof="0" dirty="0">
                <a:ln>
                  <a:noFill/>
                </a:ln>
                <a:solidFill>
                  <a:srgbClr val="29475F"/>
                </a:solidFill>
                <a:effectLst/>
                <a:uLnTx/>
                <a:uFillTx/>
              </a:endParaRP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2210837" y="2025294"/>
            <a:ext cx="2256875" cy="3378020"/>
            <a:chOff x="1274685" y="2623747"/>
            <a:chExt cx="1986217" cy="3155915"/>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6" name="TextBox 85"/>
            <p:cNvSpPr txBox="1"/>
            <p:nvPr/>
          </p:nvSpPr>
          <p:spPr>
            <a:xfrm>
              <a:off x="1274685" y="2623747"/>
              <a:ext cx="1986217" cy="647471"/>
            </a:xfrm>
            <a:prstGeom prst="rect">
              <a:avLst/>
            </a:prstGeom>
            <a:noFill/>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ZA" b="1" i="0" dirty="0">
                  <a:solidFill>
                    <a:schemeClr val="accent3">
                      <a:lumMod val="75000"/>
                    </a:schemeClr>
                  </a:solidFill>
                  <a:effectLst/>
                  <a:latin typeface="Söhne"/>
                </a:rPr>
                <a:t>Training and Knowledge Transfer</a:t>
              </a:r>
              <a:endParaRPr kumimoji="0" lang="en-CA" sz="1800" b="1" i="0" u="none" strike="noStrike" kern="0" cap="none" spc="0" normalizeH="0" baseline="0" noProof="0" dirty="0">
                <a:ln>
                  <a:noFill/>
                </a:ln>
                <a:solidFill>
                  <a:schemeClr val="accent3">
                    <a:lumMod val="75000"/>
                  </a:schemeClr>
                </a:solidFill>
                <a:effectLst/>
                <a:uLnTx/>
                <a:uFillTx/>
              </a:endParaRPr>
            </a:p>
          </p:txBody>
        </p:sp>
        <p:sp>
          <p:nvSpPr>
            <p:cNvPr id="87" name="TextBox 86"/>
            <p:cNvSpPr txBox="1"/>
            <p:nvPr/>
          </p:nvSpPr>
          <p:spPr>
            <a:xfrm>
              <a:off x="1274685" y="4027056"/>
              <a:ext cx="1624417" cy="1752606"/>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a:t>
              </a:r>
              <a:r>
                <a:rPr kumimoji="0" lang="en-US" sz="1100" b="0" i="0" u="none" strike="noStrike" kern="0" cap="none" spc="0" normalizeH="0" baseline="0" noProof="0" dirty="0">
                  <a:ln>
                    <a:noFill/>
                  </a:ln>
                  <a:solidFill>
                    <a:srgbClr val="C00000"/>
                  </a:solidFill>
                  <a:effectLst/>
                  <a:uLnTx/>
                  <a:uFillTx/>
                  <a:latin typeface="Söhne"/>
                </a:rPr>
                <a:t>The service provider conducted training for university staff on effectively using the Graduation Management System. This training covered both the technical aspects of the system and the procedural aspects of managing graduations using the IT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C00000"/>
                </a:solidFill>
                <a:effectLst/>
                <a:uLnTx/>
                <a:uFillTx/>
                <a:latin typeface="Söhne"/>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effectLst/>
                <a:uLnTx/>
                <a:uFillTx/>
                <a:latin typeface="Söhne"/>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29475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29475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29475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100" b="0" i="0" u="none" strike="noStrike" kern="0" cap="none" spc="0" normalizeH="0" baseline="0" noProof="0" dirty="0">
                <a:ln>
                  <a:noFill/>
                </a:ln>
                <a:solidFill>
                  <a:srgbClr val="29475F"/>
                </a:solidFill>
                <a:effectLst/>
                <a:uLnTx/>
                <a:uFillTx/>
              </a:endParaRP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4"/>
            <a:ext cx="1921749" cy="3065789"/>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a:t>
              </a:r>
              <a:r>
                <a:rPr lang="en-US" sz="1100" b="0" i="0" dirty="0">
                  <a:solidFill>
                    <a:srgbClr val="C00000"/>
                  </a:solidFill>
                  <a:effectLst/>
                  <a:latin typeface="Söhne"/>
                </a:rPr>
                <a:t>We need to conduct several workshops as we begin the project, to hit the ground running. Once we establish a framework and strategy, our team can take over and manage the project</a:t>
              </a:r>
              <a:r>
                <a:rPr lang="en-US" sz="1100" b="0" i="0" dirty="0">
                  <a:solidFill>
                    <a:srgbClr val="0D0D0D"/>
                  </a:solidFill>
                  <a:effectLst/>
                  <a:latin typeface="Söhne"/>
                </a:rPr>
                <a:t>."</a:t>
              </a:r>
              <a:endParaRPr kumimoji="0" lang="en-CA" sz="1100" b="0" i="0" u="none" strike="noStrike" kern="0" cap="none" spc="0" normalizeH="0" baseline="0" noProof="0" dirty="0">
                <a:ln>
                  <a:noFill/>
                </a:ln>
                <a:solidFill>
                  <a:srgbClr val="29475F"/>
                </a:solidFill>
                <a:effectLst/>
                <a:uLnTx/>
                <a:uFillTx/>
              </a:endParaRP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1068269" y="5446016"/>
            <a:ext cx="7167348" cy="5847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600" b="1" kern="0" dirty="0">
              <a:solidFill>
                <a:srgbClr val="29475F"/>
              </a:solidFill>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rgbClr val="29475F"/>
                </a:solidFill>
              </a:rPr>
              <a:t>Developing fluid digital standard operating procedures (SOPs) is crucial</a:t>
            </a:r>
            <a:endParaRPr kumimoji="0" lang="en-CA" sz="1600" b="1" i="0" u="none" strike="noStrike" kern="0" cap="none" spc="0" normalizeH="0" baseline="0" noProof="0" dirty="0">
              <a:ln>
                <a:noFill/>
              </a:ln>
              <a:solidFill>
                <a:srgbClr val="29475F"/>
              </a:solidFill>
              <a:effectLst/>
              <a:uLnTx/>
              <a:uFillTx/>
            </a:endParaRPr>
          </a:p>
        </p:txBody>
      </p:sp>
      <p:sp>
        <p:nvSpPr>
          <p:cNvPr id="2" name="Title 1"/>
          <p:cNvSpPr>
            <a:spLocks noGrp="1"/>
          </p:cNvSpPr>
          <p:nvPr>
            <p:ph type="title"/>
          </p:nvPr>
        </p:nvSpPr>
        <p:spPr>
          <a:xfrm>
            <a:off x="2411870" y="81259"/>
            <a:ext cx="3759310" cy="877887"/>
          </a:xfrm>
        </p:spPr>
        <p:txBody>
          <a:bodyPr/>
          <a:lstStyle/>
          <a:p>
            <a:pPr lvl="0" algn="ctr"/>
            <a:r>
              <a:rPr lang="en-CA" b="1" dirty="0">
                <a:latin typeface="+mj-lt"/>
              </a:rPr>
              <a:t>Awareness Campaign &amp; Trainings</a:t>
            </a:r>
          </a:p>
        </p:txBody>
      </p:sp>
      <p:pic>
        <p:nvPicPr>
          <p:cNvPr id="3" name="Picture 2">
            <a:extLst>
              <a:ext uri="{FF2B5EF4-FFF2-40B4-BE49-F238E27FC236}">
                <a16:creationId xmlns:a16="http://schemas.microsoft.com/office/drawing/2014/main" id="{479A7454-4B08-E6B2-7D44-8E916AFAD9E8}"/>
              </a:ext>
            </a:extLst>
          </p:cNvPr>
          <p:cNvPicPr>
            <a:picLocks noChangeAspect="1"/>
          </p:cNvPicPr>
          <p:nvPr/>
        </p:nvPicPr>
        <p:blipFill>
          <a:blip r:embed="rId7"/>
          <a:stretch>
            <a:fillRect/>
          </a:stretch>
        </p:blipFill>
        <p:spPr>
          <a:xfrm>
            <a:off x="-20341" y="6129936"/>
            <a:ext cx="9144000" cy="731520"/>
          </a:xfrm>
          <a:prstGeom prst="rect">
            <a:avLst/>
          </a:prstGeom>
        </p:spPr>
      </p:pic>
      <p:pic>
        <p:nvPicPr>
          <p:cNvPr id="4" name="Picture 3">
            <a:extLst>
              <a:ext uri="{FF2B5EF4-FFF2-40B4-BE49-F238E27FC236}">
                <a16:creationId xmlns:a16="http://schemas.microsoft.com/office/drawing/2014/main" id="{FBCED178-E277-E72E-FC49-7650FDF51B6D}"/>
              </a:ext>
            </a:extLst>
          </p:cNvPr>
          <p:cNvPicPr>
            <a:picLocks noChangeAspect="1"/>
          </p:cNvPicPr>
          <p:nvPr/>
        </p:nvPicPr>
        <p:blipFill>
          <a:blip r:embed="rId8"/>
          <a:stretch>
            <a:fillRect/>
          </a:stretch>
        </p:blipFill>
        <p:spPr>
          <a:xfrm>
            <a:off x="0" y="19534"/>
            <a:ext cx="1950889" cy="1115665"/>
          </a:xfrm>
          <a:prstGeom prst="rect">
            <a:avLst/>
          </a:prstGeom>
        </p:spPr>
      </p:pic>
      <p:pic>
        <p:nvPicPr>
          <p:cNvPr id="5" name="Picture 4">
            <a:extLst>
              <a:ext uri="{FF2B5EF4-FFF2-40B4-BE49-F238E27FC236}">
                <a16:creationId xmlns:a16="http://schemas.microsoft.com/office/drawing/2014/main" id="{DA164BA5-A9B0-9924-15B9-565A6250CE7E}"/>
              </a:ext>
            </a:extLst>
          </p:cNvPr>
          <p:cNvPicPr>
            <a:picLocks noChangeAspect="1"/>
          </p:cNvPicPr>
          <p:nvPr/>
        </p:nvPicPr>
        <p:blipFill>
          <a:blip r:embed="rId9"/>
          <a:stretch>
            <a:fillRect/>
          </a:stretch>
        </p:blipFill>
        <p:spPr>
          <a:xfrm>
            <a:off x="7327235" y="-15462"/>
            <a:ext cx="1816765" cy="1140051"/>
          </a:xfrm>
          <a:prstGeom prst="rect">
            <a:avLst/>
          </a:prstGeom>
        </p:spPr>
      </p:pic>
    </p:spTree>
    <p:extLst>
      <p:ext uri="{BB962C8B-B14F-4D97-AF65-F5344CB8AC3E}">
        <p14:creationId xmlns:p14="http://schemas.microsoft.com/office/powerpoint/2010/main" val="3960344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5825" y="3127225"/>
            <a:ext cx="9144000" cy="306780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a:xfrm>
            <a:off x="2172305" y="42471"/>
            <a:ext cx="4699845" cy="877887"/>
          </a:xfrm>
        </p:spPr>
        <p:txBody>
          <a:bodyPr/>
          <a:lstStyle/>
          <a:p>
            <a:pPr algn="ctr"/>
            <a:r>
              <a:rPr lang="en-CA" sz="2800" dirty="0">
                <a:latin typeface="+mj-lt"/>
              </a:rPr>
              <a:t>Future Enhancements WSU</a:t>
            </a:r>
          </a:p>
        </p:txBody>
      </p:sp>
      <p:sp>
        <p:nvSpPr>
          <p:cNvPr id="3" name="Oval 2"/>
          <p:cNvSpPr>
            <a:spLocks noChangeAspect="1"/>
          </p:cNvSpPr>
          <p:nvPr/>
        </p:nvSpPr>
        <p:spPr>
          <a:xfrm>
            <a:off x="624136" y="2388993"/>
            <a:ext cx="1548169" cy="15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 name="Oval 3"/>
          <p:cNvSpPr>
            <a:spLocks noChangeAspect="1"/>
          </p:cNvSpPr>
          <p:nvPr/>
        </p:nvSpPr>
        <p:spPr>
          <a:xfrm>
            <a:off x="3764325" y="2388993"/>
            <a:ext cx="1548169" cy="15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Oval 4"/>
          <p:cNvSpPr>
            <a:spLocks noChangeAspect="1"/>
          </p:cNvSpPr>
          <p:nvPr/>
        </p:nvSpPr>
        <p:spPr>
          <a:xfrm>
            <a:off x="6879001" y="2370467"/>
            <a:ext cx="1548169" cy="15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7" name="Straight Connector 6"/>
          <p:cNvCxnSpPr/>
          <p:nvPr/>
        </p:nvCxnSpPr>
        <p:spPr>
          <a:xfrm rot="5400000" flipH="1" flipV="1">
            <a:off x="1154896" y="4482983"/>
            <a:ext cx="3600000" cy="363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rot="5400000" flipH="1" flipV="1">
            <a:off x="4269571" y="4482983"/>
            <a:ext cx="3600000" cy="363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9490" y="2948559"/>
            <a:ext cx="334797" cy="474296"/>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5504" y="2999442"/>
            <a:ext cx="372529" cy="372529"/>
          </a:xfrm>
          <a:prstGeom prst="rect">
            <a:avLst/>
          </a:prstGeom>
        </p:spPr>
      </p:pic>
      <p:sp>
        <p:nvSpPr>
          <p:cNvPr id="12" name="TextBox 11"/>
          <p:cNvSpPr txBox="1"/>
          <p:nvPr/>
        </p:nvSpPr>
        <p:spPr>
          <a:xfrm>
            <a:off x="1121537" y="1220493"/>
            <a:ext cx="468581" cy="707886"/>
          </a:xfrm>
          <a:prstGeom prst="rect">
            <a:avLst/>
          </a:prstGeom>
        </p:spPr>
        <p:txBody>
          <a:bodyPr wrap="square" rtlCol="0">
            <a:spAutoFit/>
          </a:bodyPr>
          <a:lstStyle/>
          <a:p>
            <a:r>
              <a:rPr lang="en-CA" sz="4000" dirty="0">
                <a:solidFill>
                  <a:schemeClr val="accent2"/>
                </a:solidFill>
                <a:latin typeface="+mj-lt"/>
                <a:ea typeface="Batang" panose="02030600000101010101" pitchFamily="18" charset="-127"/>
              </a:rPr>
              <a:t>1</a:t>
            </a:r>
          </a:p>
        </p:txBody>
      </p:sp>
      <p:sp>
        <p:nvSpPr>
          <p:cNvPr id="13" name="TextBox 12"/>
          <p:cNvSpPr txBox="1"/>
          <p:nvPr/>
        </p:nvSpPr>
        <p:spPr>
          <a:xfrm>
            <a:off x="4172281" y="1220493"/>
            <a:ext cx="468581" cy="707886"/>
          </a:xfrm>
          <a:prstGeom prst="rect">
            <a:avLst/>
          </a:prstGeom>
        </p:spPr>
        <p:txBody>
          <a:bodyPr wrap="square" rtlCol="0">
            <a:spAutoFit/>
          </a:bodyPr>
          <a:lstStyle/>
          <a:p>
            <a:r>
              <a:rPr lang="en-CA" sz="4000" dirty="0">
                <a:solidFill>
                  <a:schemeClr val="accent2"/>
                </a:solidFill>
                <a:latin typeface="+mj-lt"/>
                <a:ea typeface="Batang" panose="02030600000101010101" pitchFamily="18" charset="-127"/>
              </a:rPr>
              <a:t>2</a:t>
            </a:r>
          </a:p>
        </p:txBody>
      </p:sp>
      <p:sp>
        <p:nvSpPr>
          <p:cNvPr id="14" name="TextBox 13"/>
          <p:cNvSpPr txBox="1"/>
          <p:nvPr/>
        </p:nvSpPr>
        <p:spPr>
          <a:xfrm>
            <a:off x="7353486" y="1220493"/>
            <a:ext cx="468581" cy="707886"/>
          </a:xfrm>
          <a:prstGeom prst="rect">
            <a:avLst/>
          </a:prstGeom>
        </p:spPr>
        <p:txBody>
          <a:bodyPr wrap="square" rtlCol="0">
            <a:spAutoFit/>
          </a:bodyPr>
          <a:lstStyle/>
          <a:p>
            <a:r>
              <a:rPr lang="en-CA" sz="4000" dirty="0">
                <a:solidFill>
                  <a:schemeClr val="accent2"/>
                </a:solidFill>
                <a:latin typeface="+mj-lt"/>
                <a:ea typeface="Batang" panose="02030600000101010101" pitchFamily="18" charset="-127"/>
              </a:rPr>
              <a:t>3</a:t>
            </a:r>
          </a:p>
        </p:txBody>
      </p:sp>
      <p:sp>
        <p:nvSpPr>
          <p:cNvPr id="15" name="TextBox 14"/>
          <p:cNvSpPr txBox="1"/>
          <p:nvPr/>
        </p:nvSpPr>
        <p:spPr>
          <a:xfrm>
            <a:off x="498220" y="1834683"/>
            <a:ext cx="1800000" cy="369332"/>
          </a:xfrm>
          <a:prstGeom prst="rect">
            <a:avLst/>
          </a:prstGeom>
        </p:spPr>
        <p:txBody>
          <a:bodyPr wrap="square" rtlCol="0">
            <a:spAutoFit/>
          </a:bodyPr>
          <a:lstStyle/>
          <a:p>
            <a:pPr algn="ctr"/>
            <a:r>
              <a:rPr lang="en-CA" b="1" dirty="0">
                <a:solidFill>
                  <a:srgbClr val="C00000"/>
                </a:solidFill>
              </a:rPr>
              <a:t>SCOPE</a:t>
            </a:r>
          </a:p>
        </p:txBody>
      </p:sp>
      <p:sp>
        <p:nvSpPr>
          <p:cNvPr id="16" name="TextBox 15"/>
          <p:cNvSpPr txBox="1"/>
          <p:nvPr/>
        </p:nvSpPr>
        <p:spPr>
          <a:xfrm>
            <a:off x="3568719" y="1820763"/>
            <a:ext cx="1800000" cy="369332"/>
          </a:xfrm>
          <a:prstGeom prst="rect">
            <a:avLst/>
          </a:prstGeom>
        </p:spPr>
        <p:txBody>
          <a:bodyPr wrap="square" rtlCol="0">
            <a:spAutoFit/>
          </a:bodyPr>
          <a:lstStyle/>
          <a:p>
            <a:pPr algn="ctr"/>
            <a:r>
              <a:rPr lang="en-CA" b="1" dirty="0">
                <a:solidFill>
                  <a:srgbClr val="C00000"/>
                </a:solidFill>
              </a:rPr>
              <a:t>UNDERSTAND</a:t>
            </a:r>
          </a:p>
        </p:txBody>
      </p:sp>
      <p:sp>
        <p:nvSpPr>
          <p:cNvPr id="17" name="TextBox 16"/>
          <p:cNvSpPr txBox="1"/>
          <p:nvPr/>
        </p:nvSpPr>
        <p:spPr>
          <a:xfrm>
            <a:off x="6687777" y="1843568"/>
            <a:ext cx="1800000" cy="369332"/>
          </a:xfrm>
          <a:prstGeom prst="rect">
            <a:avLst/>
          </a:prstGeom>
        </p:spPr>
        <p:txBody>
          <a:bodyPr wrap="square" rtlCol="0">
            <a:spAutoFit/>
          </a:bodyPr>
          <a:lstStyle/>
          <a:p>
            <a:pPr algn="ctr"/>
            <a:r>
              <a:rPr lang="en-CA" b="1" dirty="0">
                <a:solidFill>
                  <a:srgbClr val="C00000"/>
                </a:solidFill>
              </a:rPr>
              <a:t>BUILD</a:t>
            </a:r>
          </a:p>
        </p:txBody>
      </p:sp>
      <p:sp>
        <p:nvSpPr>
          <p:cNvPr id="18" name="TextBox 17"/>
          <p:cNvSpPr txBox="1"/>
          <p:nvPr/>
        </p:nvSpPr>
        <p:spPr>
          <a:xfrm>
            <a:off x="234005" y="3974870"/>
            <a:ext cx="2436440" cy="584775"/>
          </a:xfrm>
          <a:prstGeom prst="rect">
            <a:avLst/>
          </a:prstGeom>
        </p:spPr>
        <p:txBody>
          <a:bodyPr wrap="square" rtlCol="0" anchor="ctr">
            <a:spAutoFit/>
          </a:bodyPr>
          <a:lstStyle/>
          <a:p>
            <a:pPr algn="ctr"/>
            <a:r>
              <a:rPr lang="en-US" sz="1600" b="1" dirty="0">
                <a:solidFill>
                  <a:srgbClr val="C00000"/>
                </a:solidFill>
              </a:rPr>
              <a:t>ERP Strategy </a:t>
            </a:r>
            <a:br>
              <a:rPr lang="en-US" sz="1600" b="1" dirty="0">
                <a:solidFill>
                  <a:srgbClr val="C00000"/>
                </a:solidFill>
              </a:rPr>
            </a:br>
            <a:r>
              <a:rPr lang="en-US" sz="1600" b="1" dirty="0">
                <a:solidFill>
                  <a:srgbClr val="C00000"/>
                </a:solidFill>
              </a:rPr>
              <a:t>Scoping Framework</a:t>
            </a:r>
          </a:p>
        </p:txBody>
      </p:sp>
      <p:sp>
        <p:nvSpPr>
          <p:cNvPr id="19" name="TextBox 18"/>
          <p:cNvSpPr txBox="1"/>
          <p:nvPr/>
        </p:nvSpPr>
        <p:spPr>
          <a:xfrm>
            <a:off x="3587519" y="3978317"/>
            <a:ext cx="1959429" cy="1815882"/>
          </a:xfrm>
          <a:prstGeom prst="rect">
            <a:avLst/>
          </a:prstGeom>
        </p:spPr>
        <p:txBody>
          <a:bodyPr wrap="square" rtlCol="0">
            <a:spAutoFit/>
          </a:bodyPr>
          <a:lstStyle/>
          <a:p>
            <a:pPr algn="ctr"/>
            <a:r>
              <a:rPr lang="en-US" sz="1600" b="1" dirty="0">
                <a:solidFill>
                  <a:srgbClr val="C00000"/>
                </a:solidFill>
              </a:rPr>
              <a:t>Development of a detailed report.</a:t>
            </a:r>
          </a:p>
          <a:p>
            <a:pPr algn="ctr"/>
            <a:r>
              <a:rPr lang="en-US" sz="1600" b="1" dirty="0">
                <a:solidFill>
                  <a:srgbClr val="C00000"/>
                </a:solidFill>
              </a:rPr>
              <a:t>Dashboards with stats, Histograms, and Graduation rates for qualifications</a:t>
            </a:r>
          </a:p>
        </p:txBody>
      </p:sp>
      <p:sp>
        <p:nvSpPr>
          <p:cNvPr id="20" name="TextBox 19"/>
          <p:cNvSpPr txBox="1"/>
          <p:nvPr/>
        </p:nvSpPr>
        <p:spPr>
          <a:xfrm>
            <a:off x="6244841" y="3974870"/>
            <a:ext cx="2725704" cy="338554"/>
          </a:xfrm>
          <a:prstGeom prst="rect">
            <a:avLst/>
          </a:prstGeom>
        </p:spPr>
        <p:txBody>
          <a:bodyPr wrap="square" rtlCol="0">
            <a:spAutoFit/>
          </a:bodyPr>
          <a:lstStyle/>
          <a:p>
            <a:pPr algn="ctr"/>
            <a:endParaRPr lang="en-US" sz="1600" b="1" dirty="0">
              <a:solidFill>
                <a:srgbClr val="C00000"/>
              </a:solidFill>
            </a:endParaRPr>
          </a:p>
        </p:txBody>
      </p:sp>
      <p:sp>
        <p:nvSpPr>
          <p:cNvPr id="21" name="Rectangle 20"/>
          <p:cNvSpPr/>
          <p:nvPr/>
        </p:nvSpPr>
        <p:spPr>
          <a:xfrm>
            <a:off x="315589" y="4575327"/>
            <a:ext cx="2539724" cy="692497"/>
          </a:xfrm>
          <a:prstGeom prst="rect">
            <a:avLst/>
          </a:prstGeom>
        </p:spPr>
        <p:txBody>
          <a:bodyPr wrap="square">
            <a:spAutoFit/>
          </a:bodyPr>
          <a:lstStyle/>
          <a:p>
            <a:r>
              <a:rPr lang="en-US" sz="1300" dirty="0">
                <a:solidFill>
                  <a:srgbClr val="C00000"/>
                </a:solidFill>
              </a:rPr>
              <a:t>Subject Grouping on SACAD40 should appear on Registration I enabler</a:t>
            </a:r>
          </a:p>
        </p:txBody>
      </p:sp>
      <p:sp>
        <p:nvSpPr>
          <p:cNvPr id="23" name="Rectangle 22"/>
          <p:cNvSpPr/>
          <p:nvPr/>
        </p:nvSpPr>
        <p:spPr>
          <a:xfrm>
            <a:off x="3239347" y="4575327"/>
            <a:ext cx="2716956" cy="292388"/>
          </a:xfrm>
          <a:prstGeom prst="rect">
            <a:avLst/>
          </a:prstGeom>
        </p:spPr>
        <p:txBody>
          <a:bodyPr wrap="square">
            <a:spAutoFit/>
          </a:bodyPr>
          <a:lstStyle/>
          <a:p>
            <a:pPr lvl="0"/>
            <a:endParaRPr lang="en-CA" sz="1300" dirty="0">
              <a:solidFill>
                <a:srgbClr val="C00000"/>
              </a:solidFill>
            </a:endParaRPr>
          </a:p>
        </p:txBody>
      </p:sp>
      <p:sp>
        <p:nvSpPr>
          <p:cNvPr id="24" name="Rectangle 23"/>
          <p:cNvSpPr/>
          <p:nvPr/>
        </p:nvSpPr>
        <p:spPr>
          <a:xfrm>
            <a:off x="6303696" y="4575327"/>
            <a:ext cx="2603636" cy="292388"/>
          </a:xfrm>
          <a:prstGeom prst="rect">
            <a:avLst/>
          </a:prstGeom>
        </p:spPr>
        <p:txBody>
          <a:bodyPr wrap="square">
            <a:spAutoFit/>
          </a:bodyPr>
          <a:lstStyle/>
          <a:p>
            <a:pPr lvl="0"/>
            <a:endParaRPr lang="en-CA" sz="1300" dirty="0">
              <a:solidFill>
                <a:srgbClr val="C00000"/>
              </a:solidFill>
            </a:endParaRPr>
          </a:p>
        </p:txBody>
      </p:sp>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33812" y="2979843"/>
            <a:ext cx="388851" cy="411725"/>
          </a:xfrm>
          <a:prstGeom prst="rect">
            <a:avLst/>
          </a:prstGeom>
        </p:spPr>
      </p:pic>
      <p:pic>
        <p:nvPicPr>
          <p:cNvPr id="11" name="Picture 10">
            <a:extLst>
              <a:ext uri="{FF2B5EF4-FFF2-40B4-BE49-F238E27FC236}">
                <a16:creationId xmlns:a16="http://schemas.microsoft.com/office/drawing/2014/main" id="{347F3DEB-E652-EC1A-5E05-9585916519C7}"/>
              </a:ext>
            </a:extLst>
          </p:cNvPr>
          <p:cNvPicPr>
            <a:picLocks noChangeAspect="1"/>
          </p:cNvPicPr>
          <p:nvPr/>
        </p:nvPicPr>
        <p:blipFill>
          <a:blip r:embed="rId5"/>
          <a:stretch>
            <a:fillRect/>
          </a:stretch>
        </p:blipFill>
        <p:spPr>
          <a:xfrm>
            <a:off x="7327235" y="-725"/>
            <a:ext cx="1816765" cy="1140051"/>
          </a:xfrm>
          <a:prstGeom prst="rect">
            <a:avLst/>
          </a:prstGeom>
        </p:spPr>
      </p:pic>
      <p:pic>
        <p:nvPicPr>
          <p:cNvPr id="22" name="Picture 21">
            <a:extLst>
              <a:ext uri="{FF2B5EF4-FFF2-40B4-BE49-F238E27FC236}">
                <a16:creationId xmlns:a16="http://schemas.microsoft.com/office/drawing/2014/main" id="{038224FE-39E8-5CD8-3912-41470F99082B}"/>
              </a:ext>
            </a:extLst>
          </p:cNvPr>
          <p:cNvPicPr>
            <a:picLocks noChangeAspect="1"/>
          </p:cNvPicPr>
          <p:nvPr/>
        </p:nvPicPr>
        <p:blipFill>
          <a:blip r:embed="rId6"/>
          <a:stretch>
            <a:fillRect/>
          </a:stretch>
        </p:blipFill>
        <p:spPr>
          <a:xfrm>
            <a:off x="0" y="-13747"/>
            <a:ext cx="1950889" cy="1115665"/>
          </a:xfrm>
          <a:prstGeom prst="rect">
            <a:avLst/>
          </a:prstGeom>
        </p:spPr>
      </p:pic>
      <p:pic>
        <p:nvPicPr>
          <p:cNvPr id="26" name="Picture 25">
            <a:extLst>
              <a:ext uri="{FF2B5EF4-FFF2-40B4-BE49-F238E27FC236}">
                <a16:creationId xmlns:a16="http://schemas.microsoft.com/office/drawing/2014/main" id="{A7A531F7-63B3-1F00-68F3-8B2F0B989723}"/>
              </a:ext>
            </a:extLst>
          </p:cNvPr>
          <p:cNvPicPr>
            <a:picLocks noChangeAspect="1"/>
          </p:cNvPicPr>
          <p:nvPr/>
        </p:nvPicPr>
        <p:blipFill>
          <a:blip r:embed="rId7"/>
          <a:stretch>
            <a:fillRect/>
          </a:stretch>
        </p:blipFill>
        <p:spPr>
          <a:xfrm>
            <a:off x="25825" y="6014660"/>
            <a:ext cx="9144000" cy="890016"/>
          </a:xfrm>
          <a:prstGeom prst="rect">
            <a:avLst/>
          </a:prstGeom>
        </p:spPr>
      </p:pic>
    </p:spTree>
    <p:extLst>
      <p:ext uri="{BB962C8B-B14F-4D97-AF65-F5344CB8AC3E}">
        <p14:creationId xmlns:p14="http://schemas.microsoft.com/office/powerpoint/2010/main" val="4199276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Custom">
  <a:themeElements>
    <a:clrScheme name="Custom 11">
      <a:dk1>
        <a:srgbClr val="000000"/>
      </a:dk1>
      <a:lt1>
        <a:srgbClr val="FFFFFF"/>
      </a:lt1>
      <a:dk2>
        <a:srgbClr val="8439BD"/>
      </a:dk2>
      <a:lt2>
        <a:srgbClr val="EBEBEB"/>
      </a:lt2>
      <a:accent1>
        <a:srgbClr val="0EABB7"/>
      </a:accent1>
      <a:accent2>
        <a:srgbClr val="4868E5"/>
      </a:accent2>
      <a:accent3>
        <a:srgbClr val="20A472"/>
      </a:accent3>
      <a:accent4>
        <a:srgbClr val="B13DC8"/>
      </a:accent4>
      <a:accent5>
        <a:srgbClr val="172DA6"/>
      </a:accent5>
      <a:accent6>
        <a:srgbClr val="00B0F0"/>
      </a:accent6>
      <a:hlink>
        <a:srgbClr val="00B0F0"/>
      </a:hlink>
      <a:folHlink>
        <a:srgbClr val="B13DC8"/>
      </a:folHlink>
    </a:clrScheme>
    <a:fontScheme name="Custom 11">
      <a:majorFont>
        <a:latin typeface="Speak Pro"/>
        <a:ea typeface=""/>
        <a:cs typeface=""/>
      </a:majorFont>
      <a:minorFont>
        <a:latin typeface="Avenir Next L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lorful product roadmap timeline_Win32_SL_v3" id="{061EDF52-E0A6-4B09-AC91-99376BDEAEBE}" vid="{EB6D99AA-2953-4511-BF11-744F79C18307}"/>
    </a:ext>
  </a:extLst>
</a:theme>
</file>

<file path=ppt/theme/theme3.xml><?xml version="1.0" encoding="utf-8"?>
<a:theme xmlns:a="http://schemas.openxmlformats.org/drawingml/2006/main" name="BackCovers&amp;Dividers-Light">
  <a:themeElements>
    <a:clrScheme name="Info-Tech-ResearchDeck">
      <a:dk1>
        <a:srgbClr val="494A4A"/>
      </a:dk1>
      <a:lt1>
        <a:srgbClr val="FFFFFF"/>
      </a:lt1>
      <a:dk2>
        <a:srgbClr val="494A4A"/>
      </a:dk2>
      <a:lt2>
        <a:srgbClr val="FFFFFF"/>
      </a:lt2>
      <a:accent1>
        <a:srgbClr val="2576B6"/>
      </a:accent1>
      <a:accent2>
        <a:srgbClr val="5D3291"/>
      </a:accent2>
      <a:accent3>
        <a:srgbClr val="F7C435"/>
      </a:accent3>
      <a:accent4>
        <a:srgbClr val="299C47"/>
      </a:accent4>
      <a:accent5>
        <a:srgbClr val="B3252E"/>
      </a:accent5>
      <a:accent6>
        <a:srgbClr val="F07925"/>
      </a:accent6>
      <a:hlink>
        <a:srgbClr val="2576B6"/>
      </a:hlink>
      <a:folHlink>
        <a:srgbClr val="1647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numCol="1" spcCol="360000" rtlCol="0">
        <a:noAutofit/>
      </a:bodyPr>
      <a:lstStyle>
        <a:defPPr marL="179388" indent="-179388" algn="l">
          <a:lnSpc>
            <a:spcPct val="110000"/>
          </a:lnSpc>
          <a:buFont typeface="Arial" panose="020B0604020202020204" pitchFamily="34" charset="0"/>
          <a:buChar char="•"/>
          <a:tabLst/>
          <a:defRPr sz="1400" dirty="0" err="1" smtClean="0">
            <a:solidFill>
              <a:schemeClr val="tx1">
                <a:lumMod val="50000"/>
              </a:schemeClr>
            </a:solidFill>
            <a:latin typeface="Roboto Condensed Light" panose="02000000000000000000" pitchFamily="2" charset="0"/>
            <a:ea typeface="Roboto Condensed Light" panose="02000000000000000000" pitchFamily="2" charset="0"/>
          </a:defRPr>
        </a:defPPr>
      </a:lstStyle>
    </a:txDef>
  </a:objectDefaults>
  <a:extraClrSchemeLst/>
</a:theme>
</file>

<file path=ppt/theme/theme4.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055588"/>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activity xmlns="b3d3c73d-10ee-452d-881d-db4e7a6ebdc5"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364947BD66C414AA1503AF59C82DEC8" ma:contentTypeVersion="20" ma:contentTypeDescription="Create a new document." ma:contentTypeScope="" ma:versionID="aa1fff41ca425b12cbfe2c2753bd2ab5">
  <xsd:schema xmlns:xsd="http://www.w3.org/2001/XMLSchema" xmlns:xs="http://www.w3.org/2001/XMLSchema" xmlns:p="http://schemas.microsoft.com/office/2006/metadata/properties" xmlns:ns1="http://schemas.microsoft.com/sharepoint/v3" xmlns:ns3="b3d3c73d-10ee-452d-881d-db4e7a6ebdc5" xmlns:ns4="ecd0fb50-dde7-4f79-bd0f-60c313831995" targetNamespace="http://schemas.microsoft.com/office/2006/metadata/properties" ma:root="true" ma:fieldsID="39572948a75be945ad68f834b4b85282" ns1:_="" ns3:_="" ns4:_="">
    <xsd:import namespace="http://schemas.microsoft.com/sharepoint/v3"/>
    <xsd:import namespace="b3d3c73d-10ee-452d-881d-db4e7a6ebdc5"/>
    <xsd:import namespace="ecd0fb50-dde7-4f79-bd0f-60c31383199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element ref="ns3:MediaServiceLocation" minOccurs="0"/>
                <xsd:element ref="ns3:_activity" minOccurs="0"/>
                <xsd:element ref="ns1:_ip_UnifiedCompliancePolicyProperties" minOccurs="0"/>
                <xsd:element ref="ns1:_ip_UnifiedCompliancePolicyUIAction"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d3c73d-10ee-452d-881d-db4e7a6ebd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ystemTags" ma:index="26" nillable="true" ma:displayName="MediaServiceSystemTags" ma:hidden="true" ma:internalName="MediaServiceSystemTags" ma:readOnly="true">
      <xsd:simpleType>
        <xsd:restriction base="dms:Note"/>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cd0fb50-dde7-4f79-bd0f-60c31383199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097A36-343D-4157-8A83-11552A0BDC85}">
  <ds:schemaRefs>
    <ds:schemaRef ds:uri="http://schemas.microsoft.com/office/2006/documentManagement/types"/>
    <ds:schemaRef ds:uri="http://schemas.microsoft.com/sharepoint/v3"/>
    <ds:schemaRef ds:uri="b3d3c73d-10ee-452d-881d-db4e7a6ebdc5"/>
    <ds:schemaRef ds:uri="http://schemas.openxmlformats.org/package/2006/metadata/core-properties"/>
    <ds:schemaRef ds:uri="ecd0fb50-dde7-4f79-bd0f-60c313831995"/>
    <ds:schemaRef ds:uri="http://schemas.microsoft.com/office/2006/metadata/properties"/>
    <ds:schemaRef ds:uri="http://purl.org/dc/dcmitype/"/>
    <ds:schemaRef ds:uri="http://www.w3.org/XML/1998/namespace"/>
    <ds:schemaRef ds:uri="http://schemas.microsoft.com/office/infopath/2007/PartnerControls"/>
    <ds:schemaRef ds:uri="http://purl.org/dc/terms/"/>
    <ds:schemaRef ds:uri="http://purl.org/dc/elements/1.1/"/>
  </ds:schemaRefs>
</ds:datastoreItem>
</file>

<file path=customXml/itemProps2.xml><?xml version="1.0" encoding="utf-8"?>
<ds:datastoreItem xmlns:ds="http://schemas.openxmlformats.org/officeDocument/2006/customXml" ds:itemID="{FF322A13-5794-400E-BA73-2CC4080084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d3c73d-10ee-452d-881d-db4e7a6ebdc5"/>
    <ds:schemaRef ds:uri="ecd0fb50-dde7-4f79-bd0f-60c3138319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C4B4AC-A508-4EA6-81B2-86A7DD7017C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954</Words>
  <Application>Microsoft Office PowerPoint</Application>
  <PresentationFormat>On-screen Show (4:3)</PresentationFormat>
  <Paragraphs>162</Paragraphs>
  <Slides>10</Slides>
  <Notes>5</Notes>
  <HiddenSlides>0</HiddenSlides>
  <MMClips>0</MMClips>
  <ScaleCrop>false</ScaleCrop>
  <HeadingPairs>
    <vt:vector size="8" baseType="variant">
      <vt:variant>
        <vt:lpstr>Fonts Used</vt:lpstr>
      </vt:variant>
      <vt:variant>
        <vt:i4>22</vt:i4>
      </vt:variant>
      <vt:variant>
        <vt:lpstr>Theme</vt:lpstr>
      </vt:variant>
      <vt:variant>
        <vt:i4>4</vt:i4>
      </vt:variant>
      <vt:variant>
        <vt:lpstr>Slide Titles</vt:lpstr>
      </vt:variant>
      <vt:variant>
        <vt:i4>10</vt:i4>
      </vt:variant>
      <vt:variant>
        <vt:lpstr>Custom Shows</vt:lpstr>
      </vt:variant>
      <vt:variant>
        <vt:i4>1</vt:i4>
      </vt:variant>
    </vt:vector>
  </HeadingPairs>
  <TitlesOfParts>
    <vt:vector size="37" baseType="lpstr">
      <vt:lpstr>Aptos</vt:lpstr>
      <vt:lpstr>Arial</vt:lpstr>
      <vt:lpstr>Arial Nova</vt:lpstr>
      <vt:lpstr>Avenir Next LT Pro Light</vt:lpstr>
      <vt:lpstr>Calibri</vt:lpstr>
      <vt:lpstr>Calibri Light</vt:lpstr>
      <vt:lpstr>Exo</vt:lpstr>
      <vt:lpstr>Exo Light</vt:lpstr>
      <vt:lpstr>Georgia</vt:lpstr>
      <vt:lpstr>Montserrat</vt:lpstr>
      <vt:lpstr>Montserrat Medium</vt:lpstr>
      <vt:lpstr>Montserrat SemiBold</vt:lpstr>
      <vt:lpstr>Nunito Sans Light</vt:lpstr>
      <vt:lpstr>Poppins</vt:lpstr>
      <vt:lpstr>Poppins Light</vt:lpstr>
      <vt:lpstr>Roboto</vt:lpstr>
      <vt:lpstr>Roboto Condensed Light</vt:lpstr>
      <vt:lpstr>Roboto Light</vt:lpstr>
      <vt:lpstr>Söhne</vt:lpstr>
      <vt:lpstr>Speak Pro</vt:lpstr>
      <vt:lpstr>Tenorite</vt:lpstr>
      <vt:lpstr>Wingdings</vt:lpstr>
      <vt:lpstr>Theme1</vt:lpstr>
      <vt:lpstr>Custom</vt:lpstr>
      <vt:lpstr>BackCovers&amp;Dividers-Light</vt:lpstr>
      <vt:lpstr>Office Theme</vt:lpstr>
      <vt:lpstr>PowerPoint Presentation</vt:lpstr>
      <vt:lpstr>PowerPoint Presentation</vt:lpstr>
      <vt:lpstr>Graduation Actionable  Roadmap</vt:lpstr>
      <vt:lpstr>Implementation Strategy</vt:lpstr>
      <vt:lpstr>ITS Graduation Management   system Overview</vt:lpstr>
      <vt:lpstr>PowerPoint Presentation</vt:lpstr>
      <vt:lpstr>Harness the benefits</vt:lpstr>
      <vt:lpstr>Awareness Campaign &amp; Trainings</vt:lpstr>
      <vt:lpstr>Future Enhancements WSU</vt:lpstr>
      <vt:lpstr>PowerPoint Presentation</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04T13:54:31Z</dcterms:created>
  <dcterms:modified xsi:type="dcterms:W3CDTF">2024-03-05T06:3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64947BD66C414AA1503AF59C82DEC8</vt:lpwstr>
  </property>
</Properties>
</file>